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1.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heme/themeOverride1.xml" ContentType="application/vnd.openxmlformats-officedocument.themeOverride+xml"/>
  <Override PartName="/ppt/tags/tag21.xml" ContentType="application/vnd.openxmlformats-officedocument.presentationml.tags+xml"/>
  <Override PartName="/ppt/notesSlides/notesSlide31.xml" ContentType="application/vnd.openxmlformats-officedocument.presentationml.notesSlide+xml"/>
  <Override PartName="/ppt/theme/themeOverride2.xml" ContentType="application/vnd.openxmlformats-officedocument.themeOverride+xml"/>
  <Override PartName="/ppt/tags/tag22.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heme/themeOverride3.xml" ContentType="application/vnd.openxmlformats-officedocument.themeOverride+xml"/>
  <Override PartName="/ppt/tags/tag2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heme/themeOverride4.xml" ContentType="application/vnd.openxmlformats-officedocument.themeOverride+xml"/>
  <Override PartName="/ppt/tags/tag25.xml" ContentType="application/vnd.openxmlformats-officedocument.presentationml.tags+xml"/>
  <Override PartName="/ppt/notesSlides/notesSlide40.xml" ContentType="application/vnd.openxmlformats-officedocument.presentationml.notesSlide+xml"/>
  <Override PartName="/ppt/theme/themeOverride5.xml" ContentType="application/vnd.openxmlformats-officedocument.themeOverride+xml"/>
  <Override PartName="/ppt/tags/tag26.xml" ContentType="application/vnd.openxmlformats-officedocument.presentationml.tags+xml"/>
  <Override PartName="/ppt/notesSlides/notesSlide41.xml" ContentType="application/vnd.openxmlformats-officedocument.presentationml.notesSlide+xml"/>
  <Override PartName="/ppt/theme/themeOverride6.xml" ContentType="application/vnd.openxmlformats-officedocument.themeOverride+xml"/>
  <Override PartName="/ppt/tags/tag27.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heme/themeOverride7.xml" ContentType="application/vnd.openxmlformats-officedocument.themeOverride+xml"/>
  <Override PartName="/ppt/tags/tag28.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880" r:id="rId5"/>
    <p:sldMasterId id="2147483750" r:id="rId6"/>
    <p:sldMasterId id="2147483832" r:id="rId7"/>
    <p:sldMasterId id="2147483700" r:id="rId8"/>
    <p:sldMasterId id="2147483660" r:id="rId9"/>
    <p:sldMasterId id="2147483957" r:id="rId10"/>
    <p:sldMasterId id="2147483998" r:id="rId11"/>
    <p:sldMasterId id="2147484031" r:id="rId12"/>
    <p:sldMasterId id="2147484078" r:id="rId13"/>
    <p:sldMasterId id="2147484117" r:id="rId14"/>
    <p:sldMasterId id="2147484149" r:id="rId15"/>
    <p:sldMasterId id="2147484188" r:id="rId16"/>
    <p:sldMasterId id="2147484226" r:id="rId17"/>
    <p:sldMasterId id="2147484286" r:id="rId18"/>
  </p:sldMasterIdLst>
  <p:notesMasterIdLst>
    <p:notesMasterId r:id="rId66"/>
  </p:notesMasterIdLst>
  <p:sldIdLst>
    <p:sldId id="2076137812" r:id="rId19"/>
    <p:sldId id="2076138062" r:id="rId20"/>
    <p:sldId id="2134805668" r:id="rId21"/>
    <p:sldId id="2134805680" r:id="rId22"/>
    <p:sldId id="2120" r:id="rId23"/>
    <p:sldId id="2145705987" r:id="rId24"/>
    <p:sldId id="2145705988" r:id="rId25"/>
    <p:sldId id="2134805707" r:id="rId26"/>
    <p:sldId id="2134805684" r:id="rId27"/>
    <p:sldId id="2134805695" r:id="rId28"/>
    <p:sldId id="2147478636" r:id="rId29"/>
    <p:sldId id="2147478638" r:id="rId30"/>
    <p:sldId id="2147478639" r:id="rId31"/>
    <p:sldId id="2076137823" r:id="rId32"/>
    <p:sldId id="2134805708" r:id="rId33"/>
    <p:sldId id="2076137847" r:id="rId34"/>
    <p:sldId id="2145705971" r:id="rId35"/>
    <p:sldId id="2076137848" r:id="rId36"/>
    <p:sldId id="2145705937" r:id="rId37"/>
    <p:sldId id="2145705951" r:id="rId38"/>
    <p:sldId id="2076137850" r:id="rId39"/>
    <p:sldId id="2145705972" r:id="rId40"/>
    <p:sldId id="2145705973" r:id="rId41"/>
    <p:sldId id="2076137849" r:id="rId42"/>
    <p:sldId id="2145705978" r:id="rId43"/>
    <p:sldId id="2145705977" r:id="rId44"/>
    <p:sldId id="2145705979" r:id="rId45"/>
    <p:sldId id="2076137853" r:id="rId46"/>
    <p:sldId id="2145705976" r:id="rId47"/>
    <p:sldId id="2076137851" r:id="rId48"/>
    <p:sldId id="2145705974" r:id="rId49"/>
    <p:sldId id="2145705980" r:id="rId50"/>
    <p:sldId id="2076137852" r:id="rId51"/>
    <p:sldId id="4649" r:id="rId52"/>
    <p:sldId id="2145705947" r:id="rId53"/>
    <p:sldId id="2076136993" r:id="rId54"/>
    <p:sldId id="2040" r:id="rId55"/>
    <p:sldId id="2145705975" r:id="rId56"/>
    <p:sldId id="2145705981" r:id="rId57"/>
    <p:sldId id="2145705982" r:id="rId58"/>
    <p:sldId id="2145705984" r:id="rId59"/>
    <p:sldId id="2145705983" r:id="rId60"/>
    <p:sldId id="2076137854" r:id="rId61"/>
    <p:sldId id="2145705985" r:id="rId62"/>
    <p:sldId id="2076137830" r:id="rId63"/>
    <p:sldId id="2147478641" r:id="rId64"/>
    <p:sldId id="2076137838"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8062"/>
          </p14:sldIdLst>
        </p14:section>
        <p14:section name="Azure landing zones" id="{3AA57034-750C-43D9-A8AB-66AAF6500DEC}">
          <p14:sldIdLst>
            <p14:sldId id="2134805668"/>
            <p14:sldId id="2134805680"/>
            <p14:sldId id="2120"/>
            <p14:sldId id="2145705987"/>
            <p14:sldId id="2145705988"/>
            <p14:sldId id="2134805707"/>
            <p14:sldId id="2134805684"/>
            <p14:sldId id="2134805695"/>
            <p14:sldId id="2147478636"/>
            <p14:sldId id="2147478638"/>
            <p14:sldId id="2147478639"/>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 id="2145705971"/>
          </p14:sldIdLst>
        </p14:section>
        <p14:section name="Identity &amp; Access Mgmt" id="{188A6EBD-CFD3-4C32-9613-A7564210A25B}">
          <p14:sldIdLst>
            <p14:sldId id="2076137848"/>
            <p14:sldId id="2145705937"/>
            <p14:sldId id="2145705951"/>
          </p14:sldIdLst>
        </p14:section>
        <p14:section name="Network Topology &amp; Connectivity" id="{25FF092F-F0BB-4D40-869D-C3ECBE97A5B9}">
          <p14:sldIdLst>
            <p14:sldId id="2076137850"/>
            <p14:sldId id="2145705972"/>
            <p14:sldId id="2145705973"/>
          </p14:sldIdLst>
        </p14:section>
        <p14:section name="Resource Organization" id="{DBBAC8B6-1395-49A4-B21B-43EC66992E7C}">
          <p14:sldIdLst>
            <p14:sldId id="2076137849"/>
            <p14:sldId id="2145705978"/>
            <p14:sldId id="2145705977"/>
            <p14:sldId id="2145705979"/>
          </p14:sldIdLst>
        </p14:section>
        <p14:section name="Security" id="{B6616848-B046-492A-87BA-DA2EBDF81461}">
          <p14:sldIdLst>
            <p14:sldId id="2076137853"/>
            <p14:sldId id="2145705976"/>
          </p14:sldIdLst>
        </p14:section>
        <p14:section name="Management, Monitoring, BCDR" id="{BCF7F8F9-C8B2-4666-AE09-3C86055DB40B}">
          <p14:sldIdLst>
            <p14:sldId id="2076137851"/>
            <p14:sldId id="2145705974"/>
            <p14:sldId id="2145705980"/>
            <p14:sldId id="2076137852"/>
            <p14:sldId id="4649"/>
            <p14:sldId id="2145705947"/>
            <p14:sldId id="2076136993"/>
            <p14:sldId id="2040"/>
            <p14:sldId id="2145705975"/>
          </p14:sldIdLst>
        </p14:section>
        <p14:section name="Governance" id="{2082CE0E-CFFA-4A69-B75A-D4B8C114B5AB}">
          <p14:sldIdLst>
            <p14:sldId id="2145705981"/>
            <p14:sldId id="2145705982"/>
            <p14:sldId id="2145705984"/>
            <p14:sldId id="2145705983"/>
          </p14:sldIdLst>
        </p14:section>
        <p14:section name="Platform Automation" id="{8A3CD5D5-E231-4EC9-99A0-A31F358CB193}">
          <p14:sldIdLst>
            <p14:sldId id="2076137854"/>
            <p14:sldId id="2145705985"/>
          </p14:sldIdLst>
        </p14:section>
        <p14:section name="Resources and Next Steps" id="{C9FD7FF7-D79F-4D19-B3AD-9D02C4DF188C}">
          <p14:sldIdLst>
            <p14:sldId id="2076137830"/>
            <p14:sldId id="2147478641"/>
            <p14:sldId id="20761378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5DD2E6-22B4-4BF5-9176-595B441E8D01}" v="196" dt="2022-10-04T08:01:31.83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325" autoAdjust="0"/>
    <p:restoredTop sz="90895" autoAdjust="0"/>
  </p:normalViewPr>
  <p:slideViewPr>
    <p:cSldViewPr snapToGrid="0">
      <p:cViewPr varScale="1">
        <p:scale>
          <a:sx n="156" d="100"/>
          <a:sy n="156" d="100"/>
        </p:scale>
        <p:origin x="1164" y="15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3.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presProps" Target="presProp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 Type="http://schemas.openxmlformats.org/officeDocument/2006/relationships/slideMaster" Target="slideMasters/slideMaster4.xml"/><Relationship Id="rId7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32ED5CD-2A66-4650-BEDC-D111BB9B7C6C}"/>
    <pc:docChg chg="custSel modSld">
      <pc:chgData name="Jonathan Vella" userId="ff59d9e4-9df8-4ae6-90e3-b837e2f6651b" providerId="ADAL" clId="{532ED5CD-2A66-4650-BEDC-D111BB9B7C6C}" dt="2022-06-16T13:32:22.194" v="52" actId="313"/>
      <pc:docMkLst>
        <pc:docMk/>
      </pc:docMkLst>
      <pc:sldChg chg="modSp mod">
        <pc:chgData name="Jonathan Vella" userId="ff59d9e4-9df8-4ae6-90e3-b837e2f6651b" providerId="ADAL" clId="{532ED5CD-2A66-4650-BEDC-D111BB9B7C6C}" dt="2022-04-28T06:39:40.290" v="48" actId="20577"/>
        <pc:sldMkLst>
          <pc:docMk/>
          <pc:sldMk cId="1443897692" sldId="2076137823"/>
        </pc:sldMkLst>
        <pc:spChg chg="mod">
          <ac:chgData name="Jonathan Vella" userId="ff59d9e4-9df8-4ae6-90e3-b837e2f6651b" providerId="ADAL" clId="{532ED5CD-2A66-4650-BEDC-D111BB9B7C6C}" dt="2022-04-28T06:39:40.290" v="48" actId="20577"/>
          <ac:spMkLst>
            <pc:docMk/>
            <pc:sldMk cId="1443897692" sldId="2076137823"/>
            <ac:spMk id="4" creationId="{00000000-0000-0000-0000-000000000000}"/>
          </ac:spMkLst>
        </pc:spChg>
      </pc:sldChg>
      <pc:sldChg chg="modSp">
        <pc:chgData name="Jonathan Vella" userId="ff59d9e4-9df8-4ae6-90e3-b837e2f6651b" providerId="ADAL" clId="{532ED5CD-2A66-4650-BEDC-D111BB9B7C6C}" dt="2022-04-28T07:59:06.998" v="50" actId="20577"/>
        <pc:sldMkLst>
          <pc:docMk/>
          <pc:sldMk cId="2773367745" sldId="2145705951"/>
        </pc:sldMkLst>
        <pc:spChg chg="mod">
          <ac:chgData name="Jonathan Vella" userId="ff59d9e4-9df8-4ae6-90e3-b837e2f6651b" providerId="ADAL" clId="{532ED5CD-2A66-4650-BEDC-D111BB9B7C6C}" dt="2022-04-28T07:59:06.998" v="50" actId="20577"/>
          <ac:spMkLst>
            <pc:docMk/>
            <pc:sldMk cId="2773367745" sldId="2145705951"/>
            <ac:spMk id="17" creationId="{6C888C00-E318-43FB-A80C-54A8EA42D2C3}"/>
          </ac:spMkLst>
        </pc:spChg>
      </pc:sldChg>
      <pc:sldChg chg="modSp mod">
        <pc:chgData name="Jonathan Vella" userId="ff59d9e4-9df8-4ae6-90e3-b837e2f6651b" providerId="ADAL" clId="{532ED5CD-2A66-4650-BEDC-D111BB9B7C6C}" dt="2022-06-16T13:32:22.194" v="52" actId="313"/>
        <pc:sldMkLst>
          <pc:docMk/>
          <pc:sldMk cId="3221375824" sldId="2145705982"/>
        </pc:sldMkLst>
        <pc:spChg chg="mod">
          <ac:chgData name="Jonathan Vella" userId="ff59d9e4-9df8-4ae6-90e3-b837e2f6651b" providerId="ADAL" clId="{532ED5CD-2A66-4650-BEDC-D111BB9B7C6C}" dt="2022-06-16T13:32:22.194" v="52" actId="313"/>
          <ac:spMkLst>
            <pc:docMk/>
            <pc:sldMk cId="3221375824" sldId="2145705982"/>
            <ac:spMk id="17" creationId="{6C888C00-E318-43FB-A80C-54A8EA42D2C3}"/>
          </ac:spMkLst>
        </pc:spChg>
      </pc:sldChg>
    </pc:docChg>
  </pc:docChgLst>
  <pc:docChgLst>
    <pc:chgData name="Jonathan Vella" userId="ff59d9e4-9df8-4ae6-90e3-b837e2f6651b" providerId="ADAL" clId="{CD5DD2E6-22B4-4BF5-9176-595B441E8D01}"/>
    <pc:docChg chg="undo custSel delSld modSld sldOrd delMainMaster delSection modSection">
      <pc:chgData name="Jonathan Vella" userId="ff59d9e4-9df8-4ae6-90e3-b837e2f6651b" providerId="ADAL" clId="{CD5DD2E6-22B4-4BF5-9176-595B441E8D01}" dt="2022-10-04T08:01:42.601" v="431" actId="20577"/>
      <pc:docMkLst>
        <pc:docMk/>
      </pc:docMkLst>
      <pc:sldChg chg="del">
        <pc:chgData name="Jonathan Vella" userId="ff59d9e4-9df8-4ae6-90e3-b837e2f6651b" providerId="ADAL" clId="{CD5DD2E6-22B4-4BF5-9176-595B441E8D01}" dt="2022-10-04T07:58:50.368" v="353" actId="18676"/>
        <pc:sldMkLst>
          <pc:docMk/>
          <pc:sldMk cId="2480172102" sldId="263"/>
        </pc:sldMkLst>
      </pc:sldChg>
      <pc:sldChg chg="modSp mod">
        <pc:chgData name="Jonathan Vella" userId="ff59d9e4-9df8-4ae6-90e3-b837e2f6651b" providerId="ADAL" clId="{CD5DD2E6-22B4-4BF5-9176-595B441E8D01}" dt="2022-10-04T07:45:50.208" v="249" actId="20577"/>
        <pc:sldMkLst>
          <pc:docMk/>
          <pc:sldMk cId="3225590302" sldId="2040"/>
        </pc:sldMkLst>
        <pc:spChg chg="mod">
          <ac:chgData name="Jonathan Vella" userId="ff59d9e4-9df8-4ae6-90e3-b837e2f6651b" providerId="ADAL" clId="{CD5DD2E6-22B4-4BF5-9176-595B441E8D01}" dt="2022-10-04T07:45:50.208" v="249" actId="20577"/>
          <ac:spMkLst>
            <pc:docMk/>
            <pc:sldMk cId="3225590302" sldId="2040"/>
            <ac:spMk id="3" creationId="{43D0FC87-B7F7-440A-B64B-B3685F15B5DA}"/>
          </ac:spMkLst>
        </pc:spChg>
      </pc:sldChg>
      <pc:sldChg chg="del">
        <pc:chgData name="Jonathan Vella" userId="ff59d9e4-9df8-4ae6-90e3-b837e2f6651b" providerId="ADAL" clId="{CD5DD2E6-22B4-4BF5-9176-595B441E8D01}" dt="2022-10-04T07:58:50.368" v="353" actId="18676"/>
        <pc:sldMkLst>
          <pc:docMk/>
          <pc:sldMk cId="3208971622" sldId="2076137813"/>
        </pc:sldMkLst>
      </pc:sldChg>
      <pc:sldChg chg="del">
        <pc:chgData name="Jonathan Vella" userId="ff59d9e4-9df8-4ae6-90e3-b837e2f6651b" providerId="ADAL" clId="{CD5DD2E6-22B4-4BF5-9176-595B441E8D01}" dt="2022-10-04T07:58:50.368" v="353" actId="18676"/>
        <pc:sldMkLst>
          <pc:docMk/>
          <pc:sldMk cId="1752673424" sldId="2076137814"/>
        </pc:sldMkLst>
      </pc:sldChg>
      <pc:sldChg chg="del">
        <pc:chgData name="Jonathan Vella" userId="ff59d9e4-9df8-4ae6-90e3-b837e2f6651b" providerId="ADAL" clId="{CD5DD2E6-22B4-4BF5-9176-595B441E8D01}" dt="2022-10-04T07:58:50.368" v="353" actId="18676"/>
        <pc:sldMkLst>
          <pc:docMk/>
          <pc:sldMk cId="3085138353" sldId="2076137815"/>
        </pc:sldMkLst>
      </pc:sldChg>
      <pc:sldChg chg="del">
        <pc:chgData name="Jonathan Vella" userId="ff59d9e4-9df8-4ae6-90e3-b837e2f6651b" providerId="ADAL" clId="{CD5DD2E6-22B4-4BF5-9176-595B441E8D01}" dt="2022-10-04T07:58:53.688" v="354" actId="18676"/>
        <pc:sldMkLst>
          <pc:docMk/>
          <pc:sldMk cId="3879778804" sldId="2076137816"/>
        </pc:sldMkLst>
      </pc:sldChg>
      <pc:sldChg chg="del">
        <pc:chgData name="Jonathan Vella" userId="ff59d9e4-9df8-4ae6-90e3-b837e2f6651b" providerId="ADAL" clId="{CD5DD2E6-22B4-4BF5-9176-595B441E8D01}" dt="2022-10-04T07:58:53.688" v="354" actId="18676"/>
        <pc:sldMkLst>
          <pc:docMk/>
          <pc:sldMk cId="470616907" sldId="2076137818"/>
        </pc:sldMkLst>
      </pc:sldChg>
      <pc:sldChg chg="del">
        <pc:chgData name="Jonathan Vella" userId="ff59d9e4-9df8-4ae6-90e3-b837e2f6651b" providerId="ADAL" clId="{CD5DD2E6-22B4-4BF5-9176-595B441E8D01}" dt="2022-10-04T07:58:53.688" v="354" actId="18676"/>
        <pc:sldMkLst>
          <pc:docMk/>
          <pc:sldMk cId="4197922815" sldId="2076137819"/>
        </pc:sldMkLst>
      </pc:sldChg>
      <pc:sldChg chg="del">
        <pc:chgData name="Jonathan Vella" userId="ff59d9e4-9df8-4ae6-90e3-b837e2f6651b" providerId="ADAL" clId="{CD5DD2E6-22B4-4BF5-9176-595B441E8D01}" dt="2022-10-04T07:58:53.688" v="354" actId="18676"/>
        <pc:sldMkLst>
          <pc:docMk/>
          <pc:sldMk cId="1184935605" sldId="2076137820"/>
        </pc:sldMkLst>
      </pc:sldChg>
      <pc:sldChg chg="del">
        <pc:chgData name="Jonathan Vella" userId="ff59d9e4-9df8-4ae6-90e3-b837e2f6651b" providerId="ADAL" clId="{CD5DD2E6-22B4-4BF5-9176-595B441E8D01}" dt="2022-10-04T07:58:53.688" v="354" actId="18676"/>
        <pc:sldMkLst>
          <pc:docMk/>
          <pc:sldMk cId="3744137550" sldId="2076137821"/>
        </pc:sldMkLst>
      </pc:sldChg>
      <pc:sldChg chg="del">
        <pc:chgData name="Jonathan Vella" userId="ff59d9e4-9df8-4ae6-90e3-b837e2f6651b" providerId="ADAL" clId="{CD5DD2E6-22B4-4BF5-9176-595B441E8D01}" dt="2022-10-04T07:58:53.688" v="354" actId="18676"/>
        <pc:sldMkLst>
          <pc:docMk/>
          <pc:sldMk cId="1676877109" sldId="2076137822"/>
        </pc:sldMkLst>
      </pc:sldChg>
      <pc:sldChg chg="del">
        <pc:chgData name="Jonathan Vella" userId="ff59d9e4-9df8-4ae6-90e3-b837e2f6651b" providerId="ADAL" clId="{CD5DD2E6-22B4-4BF5-9176-595B441E8D01}" dt="2022-10-04T07:57:38.413" v="345" actId="47"/>
        <pc:sldMkLst>
          <pc:docMk/>
          <pc:sldMk cId="1773292696" sldId="2076137826"/>
        </pc:sldMkLst>
      </pc:sldChg>
      <pc:sldChg chg="del">
        <pc:chgData name="Jonathan Vella" userId="ff59d9e4-9df8-4ae6-90e3-b837e2f6651b" providerId="ADAL" clId="{CD5DD2E6-22B4-4BF5-9176-595B441E8D01}" dt="2022-10-04T07:58:53.688" v="354" actId="18676"/>
        <pc:sldMkLst>
          <pc:docMk/>
          <pc:sldMk cId="1125268878" sldId="2076137827"/>
        </pc:sldMkLst>
      </pc:sldChg>
      <pc:sldChg chg="del">
        <pc:chgData name="Jonathan Vella" userId="ff59d9e4-9df8-4ae6-90e3-b837e2f6651b" providerId="ADAL" clId="{CD5DD2E6-22B4-4BF5-9176-595B441E8D01}" dt="2022-10-04T07:58:50.368" v="353" actId="18676"/>
        <pc:sldMkLst>
          <pc:docMk/>
          <pc:sldMk cId="130504044" sldId="2076137828"/>
        </pc:sldMkLst>
      </pc:sldChg>
      <pc:sldChg chg="del">
        <pc:chgData name="Jonathan Vella" userId="ff59d9e4-9df8-4ae6-90e3-b837e2f6651b" providerId="ADAL" clId="{CD5DD2E6-22B4-4BF5-9176-595B441E8D01}" dt="2022-10-04T07:59:02.649" v="355" actId="18676"/>
        <pc:sldMkLst>
          <pc:docMk/>
          <pc:sldMk cId="254237867" sldId="2076137829"/>
        </pc:sldMkLst>
      </pc:sldChg>
      <pc:sldChg chg="del">
        <pc:chgData name="Jonathan Vella" userId="ff59d9e4-9df8-4ae6-90e3-b837e2f6651b" providerId="ADAL" clId="{CD5DD2E6-22B4-4BF5-9176-595B441E8D01}" dt="2022-10-04T07:59:24.296" v="359" actId="47"/>
        <pc:sldMkLst>
          <pc:docMk/>
          <pc:sldMk cId="3208500921" sldId="2076137831"/>
        </pc:sldMkLst>
      </pc:sldChg>
      <pc:sldChg chg="del">
        <pc:chgData name="Jonathan Vella" userId="ff59d9e4-9df8-4ae6-90e3-b837e2f6651b" providerId="ADAL" clId="{CD5DD2E6-22B4-4BF5-9176-595B441E8D01}" dt="2022-10-04T07:59:11.059" v="357" actId="47"/>
        <pc:sldMkLst>
          <pc:docMk/>
          <pc:sldMk cId="181722268" sldId="2076137832"/>
        </pc:sldMkLst>
      </pc:sldChg>
      <pc:sldChg chg="del">
        <pc:chgData name="Jonathan Vella" userId="ff59d9e4-9df8-4ae6-90e3-b837e2f6651b" providerId="ADAL" clId="{CD5DD2E6-22B4-4BF5-9176-595B441E8D01}" dt="2022-10-04T07:59:11.059" v="357" actId="47"/>
        <pc:sldMkLst>
          <pc:docMk/>
          <pc:sldMk cId="908604115" sldId="2076137834"/>
        </pc:sldMkLst>
      </pc:sldChg>
      <pc:sldChg chg="del">
        <pc:chgData name="Jonathan Vella" userId="ff59d9e4-9df8-4ae6-90e3-b837e2f6651b" providerId="ADAL" clId="{CD5DD2E6-22B4-4BF5-9176-595B441E8D01}" dt="2022-10-04T07:59:11.059" v="357" actId="47"/>
        <pc:sldMkLst>
          <pc:docMk/>
          <pc:sldMk cId="3948430080" sldId="2076137836"/>
        </pc:sldMkLst>
      </pc:sldChg>
      <pc:sldChg chg="del">
        <pc:chgData name="Jonathan Vella" userId="ff59d9e4-9df8-4ae6-90e3-b837e2f6651b" providerId="ADAL" clId="{CD5DD2E6-22B4-4BF5-9176-595B441E8D01}" dt="2022-10-04T07:59:21.148" v="358" actId="47"/>
        <pc:sldMkLst>
          <pc:docMk/>
          <pc:sldMk cId="3401808151" sldId="2076137837"/>
        </pc:sldMkLst>
      </pc:sldChg>
      <pc:sldChg chg="del">
        <pc:chgData name="Jonathan Vella" userId="ff59d9e4-9df8-4ae6-90e3-b837e2f6651b" providerId="ADAL" clId="{CD5DD2E6-22B4-4BF5-9176-595B441E8D01}" dt="2022-10-04T07:59:02.649" v="355" actId="18676"/>
        <pc:sldMkLst>
          <pc:docMk/>
          <pc:sldMk cId="3834849948" sldId="2076137841"/>
        </pc:sldMkLst>
      </pc:sldChg>
      <pc:sldChg chg="del">
        <pc:chgData name="Jonathan Vella" userId="ff59d9e4-9df8-4ae6-90e3-b837e2f6651b" providerId="ADAL" clId="{CD5DD2E6-22B4-4BF5-9176-595B441E8D01}" dt="2022-10-04T07:59:02.649" v="355" actId="18676"/>
        <pc:sldMkLst>
          <pc:docMk/>
          <pc:sldMk cId="2610508133" sldId="2076137842"/>
        </pc:sldMkLst>
      </pc:sldChg>
      <pc:sldChg chg="del">
        <pc:chgData name="Jonathan Vella" userId="ff59d9e4-9df8-4ae6-90e3-b837e2f6651b" providerId="ADAL" clId="{CD5DD2E6-22B4-4BF5-9176-595B441E8D01}" dt="2022-10-04T07:59:02.649" v="355" actId="18676"/>
        <pc:sldMkLst>
          <pc:docMk/>
          <pc:sldMk cId="78919145" sldId="2076137843"/>
        </pc:sldMkLst>
      </pc:sldChg>
      <pc:sldChg chg="del">
        <pc:chgData name="Jonathan Vella" userId="ff59d9e4-9df8-4ae6-90e3-b837e2f6651b" providerId="ADAL" clId="{CD5DD2E6-22B4-4BF5-9176-595B441E8D01}" dt="2022-10-04T07:59:02.649" v="355" actId="18676"/>
        <pc:sldMkLst>
          <pc:docMk/>
          <pc:sldMk cId="2051936880" sldId="2076137845"/>
        </pc:sldMkLst>
      </pc:sldChg>
      <pc:sldChg chg="del">
        <pc:chgData name="Jonathan Vella" userId="ff59d9e4-9df8-4ae6-90e3-b837e2f6651b" providerId="ADAL" clId="{CD5DD2E6-22B4-4BF5-9176-595B441E8D01}" dt="2022-10-04T07:58:50.368" v="353" actId="18676"/>
        <pc:sldMkLst>
          <pc:docMk/>
          <pc:sldMk cId="1009854136" sldId="2076137846"/>
        </pc:sldMkLst>
      </pc:sldChg>
      <pc:sldChg chg="ord">
        <pc:chgData name="Jonathan Vella" userId="ff59d9e4-9df8-4ae6-90e3-b837e2f6651b" providerId="ADAL" clId="{CD5DD2E6-22B4-4BF5-9176-595B441E8D01}" dt="2022-10-04T07:57:52.511" v="347"/>
        <pc:sldMkLst>
          <pc:docMk/>
          <pc:sldMk cId="801499079" sldId="2076138062"/>
        </pc:sldMkLst>
      </pc:sldChg>
      <pc:sldChg chg="addSp delSp del mod">
        <pc:chgData name="Jonathan Vella" userId="ff59d9e4-9df8-4ae6-90e3-b837e2f6651b" providerId="ADAL" clId="{CD5DD2E6-22B4-4BF5-9176-595B441E8D01}" dt="2022-10-04T07:58:41.176" v="351" actId="47"/>
        <pc:sldMkLst>
          <pc:docMk/>
          <pc:sldMk cId="2268957260" sldId="2134805681"/>
        </pc:sldMkLst>
        <pc:picChg chg="add del">
          <ac:chgData name="Jonathan Vella" userId="ff59d9e4-9df8-4ae6-90e3-b837e2f6651b" providerId="ADAL" clId="{CD5DD2E6-22B4-4BF5-9176-595B441E8D01}" dt="2022-10-04T07:55:58.138" v="344" actId="22"/>
          <ac:picMkLst>
            <pc:docMk/>
            <pc:sldMk cId="2268957260" sldId="2134805681"/>
            <ac:picMk id="5" creationId="{9922453E-7F1A-ABE2-E5DE-FB50249FDF7A}"/>
          </ac:picMkLst>
        </pc:picChg>
      </pc:sldChg>
      <pc:sldChg chg="del">
        <pc:chgData name="Jonathan Vella" userId="ff59d9e4-9df8-4ae6-90e3-b837e2f6651b" providerId="ADAL" clId="{CD5DD2E6-22B4-4BF5-9176-595B441E8D01}" dt="2022-10-04T07:58:43.688" v="352" actId="47"/>
        <pc:sldMkLst>
          <pc:docMk/>
          <pc:sldMk cId="1783459546" sldId="2134805682"/>
        </pc:sldMkLst>
      </pc:sldChg>
      <pc:sldChg chg="ord">
        <pc:chgData name="Jonathan Vella" userId="ff59d9e4-9df8-4ae6-90e3-b837e2f6651b" providerId="ADAL" clId="{CD5DD2E6-22B4-4BF5-9176-595B441E8D01}" dt="2022-10-04T07:58:12.342" v="349"/>
        <pc:sldMkLst>
          <pc:docMk/>
          <pc:sldMk cId="2160925228" sldId="2134805707"/>
        </pc:sldMkLst>
      </pc:sldChg>
      <pc:sldChg chg="modSp modAnim">
        <pc:chgData name="Jonathan Vella" userId="ff59d9e4-9df8-4ae6-90e3-b837e2f6651b" providerId="ADAL" clId="{CD5DD2E6-22B4-4BF5-9176-595B441E8D01}" dt="2022-10-04T07:44:27.054" v="239" actId="20577"/>
        <pc:sldMkLst>
          <pc:docMk/>
          <pc:sldMk cId="2773367745" sldId="2145705951"/>
        </pc:sldMkLst>
        <pc:spChg chg="mod">
          <ac:chgData name="Jonathan Vella" userId="ff59d9e4-9df8-4ae6-90e3-b837e2f6651b" providerId="ADAL" clId="{CD5DD2E6-22B4-4BF5-9176-595B441E8D01}" dt="2022-10-04T07:44:27.054" v="239" actId="20577"/>
          <ac:spMkLst>
            <pc:docMk/>
            <pc:sldMk cId="2773367745" sldId="2145705951"/>
            <ac:spMk id="17" creationId="{6C888C00-E318-43FB-A80C-54A8EA42D2C3}"/>
          </ac:spMkLst>
        </pc:spChg>
      </pc:sldChg>
      <pc:sldChg chg="modSp modAnim">
        <pc:chgData name="Jonathan Vella" userId="ff59d9e4-9df8-4ae6-90e3-b837e2f6651b" providerId="ADAL" clId="{CD5DD2E6-22B4-4BF5-9176-595B441E8D01}" dt="2022-10-04T07:37:49.110" v="116" actId="20577"/>
        <pc:sldMkLst>
          <pc:docMk/>
          <pc:sldMk cId="3466835861" sldId="2145705971"/>
        </pc:sldMkLst>
        <pc:spChg chg="mod">
          <ac:chgData name="Jonathan Vella" userId="ff59d9e4-9df8-4ae6-90e3-b837e2f6651b" providerId="ADAL" clId="{CD5DD2E6-22B4-4BF5-9176-595B441E8D01}" dt="2022-10-04T07:37:49.110" v="116" actId="20577"/>
          <ac:spMkLst>
            <pc:docMk/>
            <pc:sldMk cId="3466835861" sldId="2145705971"/>
            <ac:spMk id="15" creationId="{1E566100-ADBB-4258-8EC3-23BBEEC9793D}"/>
          </ac:spMkLst>
        </pc:spChg>
      </pc:sldChg>
      <pc:sldChg chg="modSp modAnim">
        <pc:chgData name="Jonathan Vella" userId="ff59d9e4-9df8-4ae6-90e3-b837e2f6651b" providerId="ADAL" clId="{CD5DD2E6-22B4-4BF5-9176-595B441E8D01}" dt="2022-10-04T07:39:44.127" v="166" actId="20577"/>
        <pc:sldMkLst>
          <pc:docMk/>
          <pc:sldMk cId="3155259312" sldId="2145705972"/>
        </pc:sldMkLst>
        <pc:spChg chg="mod">
          <ac:chgData name="Jonathan Vella" userId="ff59d9e4-9df8-4ae6-90e3-b837e2f6651b" providerId="ADAL" clId="{CD5DD2E6-22B4-4BF5-9176-595B441E8D01}" dt="2022-10-04T07:39:44.127" v="166" actId="20577"/>
          <ac:spMkLst>
            <pc:docMk/>
            <pc:sldMk cId="3155259312" sldId="2145705972"/>
            <ac:spMk id="15" creationId="{1E566100-ADBB-4258-8EC3-23BBEEC9793D}"/>
          </ac:spMkLst>
        </pc:spChg>
      </pc:sldChg>
      <pc:sldChg chg="modSp mod">
        <pc:chgData name="Jonathan Vella" userId="ff59d9e4-9df8-4ae6-90e3-b837e2f6651b" providerId="ADAL" clId="{CD5DD2E6-22B4-4BF5-9176-595B441E8D01}" dt="2022-10-04T07:41:20.191" v="212" actId="6549"/>
        <pc:sldMkLst>
          <pc:docMk/>
          <pc:sldMk cId="4264489091" sldId="2145705973"/>
        </pc:sldMkLst>
        <pc:spChg chg="mod">
          <ac:chgData name="Jonathan Vella" userId="ff59d9e4-9df8-4ae6-90e3-b837e2f6651b" providerId="ADAL" clId="{CD5DD2E6-22B4-4BF5-9176-595B441E8D01}" dt="2022-10-04T07:41:20.191" v="212" actId="6549"/>
          <ac:spMkLst>
            <pc:docMk/>
            <pc:sldMk cId="4264489091" sldId="2145705973"/>
            <ac:spMk id="15" creationId="{1E566100-ADBB-4258-8EC3-23BBEEC9793D}"/>
          </ac:spMkLst>
        </pc:spChg>
      </pc:sldChg>
      <pc:sldChg chg="modSp mod">
        <pc:chgData name="Jonathan Vella" userId="ff59d9e4-9df8-4ae6-90e3-b837e2f6651b" providerId="ADAL" clId="{CD5DD2E6-22B4-4BF5-9176-595B441E8D01}" dt="2022-10-04T07:44:08.775" v="237" actId="20577"/>
        <pc:sldMkLst>
          <pc:docMk/>
          <pc:sldMk cId="3122214548" sldId="2145705974"/>
        </pc:sldMkLst>
        <pc:spChg chg="mod">
          <ac:chgData name="Jonathan Vella" userId="ff59d9e4-9df8-4ae6-90e3-b837e2f6651b" providerId="ADAL" clId="{CD5DD2E6-22B4-4BF5-9176-595B441E8D01}" dt="2022-10-04T07:44:08.775" v="237" actId="20577"/>
          <ac:spMkLst>
            <pc:docMk/>
            <pc:sldMk cId="3122214548" sldId="2145705974"/>
            <ac:spMk id="17" creationId="{6C888C00-E318-43FB-A80C-54A8EA42D2C3}"/>
          </ac:spMkLst>
        </pc:spChg>
      </pc:sldChg>
      <pc:sldChg chg="modSp">
        <pc:chgData name="Jonathan Vella" userId="ff59d9e4-9df8-4ae6-90e3-b837e2f6651b" providerId="ADAL" clId="{CD5DD2E6-22B4-4BF5-9176-595B441E8D01}" dt="2022-10-04T07:44:47.072" v="244" actId="20577"/>
        <pc:sldMkLst>
          <pc:docMk/>
          <pc:sldMk cId="1578671869" sldId="2145705978"/>
        </pc:sldMkLst>
        <pc:spChg chg="mod">
          <ac:chgData name="Jonathan Vella" userId="ff59d9e4-9df8-4ae6-90e3-b837e2f6651b" providerId="ADAL" clId="{CD5DD2E6-22B4-4BF5-9176-595B441E8D01}" dt="2022-10-04T07:44:47.072" v="244" actId="20577"/>
          <ac:spMkLst>
            <pc:docMk/>
            <pc:sldMk cId="1578671869" sldId="2145705978"/>
            <ac:spMk id="15" creationId="{1E566100-ADBB-4258-8EC3-23BBEEC9793D}"/>
          </ac:spMkLst>
        </pc:spChg>
      </pc:sldChg>
      <pc:sldChg chg="modSp mod">
        <pc:chgData name="Jonathan Vella" userId="ff59d9e4-9df8-4ae6-90e3-b837e2f6651b" providerId="ADAL" clId="{CD5DD2E6-22B4-4BF5-9176-595B441E8D01}" dt="2022-10-04T07:48:39.618" v="315" actId="6549"/>
        <pc:sldMkLst>
          <pc:docMk/>
          <pc:sldMk cId="3846288735" sldId="2145705983"/>
        </pc:sldMkLst>
        <pc:spChg chg="mod">
          <ac:chgData name="Jonathan Vella" userId="ff59d9e4-9df8-4ae6-90e3-b837e2f6651b" providerId="ADAL" clId="{CD5DD2E6-22B4-4BF5-9176-595B441E8D01}" dt="2022-10-04T07:48:39.618" v="315" actId="6549"/>
          <ac:spMkLst>
            <pc:docMk/>
            <pc:sldMk cId="3846288735" sldId="2145705983"/>
            <ac:spMk id="17" creationId="{6C888C00-E318-43FB-A80C-54A8EA42D2C3}"/>
          </ac:spMkLst>
        </pc:spChg>
      </pc:sldChg>
      <pc:sldChg chg="modSp mod">
        <pc:chgData name="Jonathan Vella" userId="ff59d9e4-9df8-4ae6-90e3-b837e2f6651b" providerId="ADAL" clId="{CD5DD2E6-22B4-4BF5-9176-595B441E8D01}" dt="2022-10-04T07:47:31.458" v="301" actId="20577"/>
        <pc:sldMkLst>
          <pc:docMk/>
          <pc:sldMk cId="2663082499" sldId="2145705984"/>
        </pc:sldMkLst>
        <pc:spChg chg="mod">
          <ac:chgData name="Jonathan Vella" userId="ff59d9e4-9df8-4ae6-90e3-b837e2f6651b" providerId="ADAL" clId="{CD5DD2E6-22B4-4BF5-9176-595B441E8D01}" dt="2022-10-04T07:47:31.458" v="301" actId="20577"/>
          <ac:spMkLst>
            <pc:docMk/>
            <pc:sldMk cId="2663082499" sldId="2145705984"/>
            <ac:spMk id="17" creationId="{6C888C00-E318-43FB-A80C-54A8EA42D2C3}"/>
          </ac:spMkLst>
        </pc:spChg>
      </pc:sldChg>
      <pc:sldChg chg="modSp del mod">
        <pc:chgData name="Jonathan Vella" userId="ff59d9e4-9df8-4ae6-90e3-b837e2f6651b" providerId="ADAL" clId="{CD5DD2E6-22B4-4BF5-9176-595B441E8D01}" dt="2022-10-04T07:58:50.368" v="353" actId="18676"/>
        <pc:sldMkLst>
          <pc:docMk/>
          <pc:sldMk cId="4068158549" sldId="2145705986"/>
        </pc:sldMkLst>
        <pc:spChg chg="mod">
          <ac:chgData name="Jonathan Vella" userId="ff59d9e4-9df8-4ae6-90e3-b837e2f6651b" providerId="ADAL" clId="{CD5DD2E6-22B4-4BF5-9176-595B441E8D01}" dt="2022-10-04T07:49:45.572" v="342" actId="20577"/>
          <ac:spMkLst>
            <pc:docMk/>
            <pc:sldMk cId="4068158549" sldId="2145705986"/>
            <ac:spMk id="2" creationId="{724AB9D4-D3CB-4BF0-AC58-148877A366A4}"/>
          </ac:spMkLst>
        </pc:spChg>
      </pc:sldChg>
      <pc:sldChg chg="del">
        <pc:chgData name="Jonathan Vella" userId="ff59d9e4-9df8-4ae6-90e3-b837e2f6651b" providerId="ADAL" clId="{CD5DD2E6-22B4-4BF5-9176-595B441E8D01}" dt="2022-10-04T07:58:21.717" v="350" actId="47"/>
        <pc:sldMkLst>
          <pc:docMk/>
          <pc:sldMk cId="1297839373" sldId="2147478637"/>
        </pc:sldMkLst>
      </pc:sldChg>
      <pc:sldChg chg="modSp mod">
        <pc:chgData name="Jonathan Vella" userId="ff59d9e4-9df8-4ae6-90e3-b837e2f6651b" providerId="ADAL" clId="{CD5DD2E6-22B4-4BF5-9176-595B441E8D01}" dt="2022-10-04T08:01:42.601" v="431" actId="20577"/>
        <pc:sldMkLst>
          <pc:docMk/>
          <pc:sldMk cId="1053774249" sldId="2147478641"/>
        </pc:sldMkLst>
        <pc:spChg chg="mod">
          <ac:chgData name="Jonathan Vella" userId="ff59d9e4-9df8-4ae6-90e3-b837e2f6651b" providerId="ADAL" clId="{CD5DD2E6-22B4-4BF5-9176-595B441E8D01}" dt="2022-10-04T08:00:58.995" v="389" actId="20577"/>
          <ac:spMkLst>
            <pc:docMk/>
            <pc:sldMk cId="1053774249" sldId="2147478641"/>
            <ac:spMk id="2" creationId="{639641FB-58A8-C0BF-4176-5E517D6622C3}"/>
          </ac:spMkLst>
        </pc:spChg>
        <pc:spChg chg="mod">
          <ac:chgData name="Jonathan Vella" userId="ff59d9e4-9df8-4ae6-90e3-b837e2f6651b" providerId="ADAL" clId="{CD5DD2E6-22B4-4BF5-9176-595B441E8D01}" dt="2022-10-04T08:01:42.601" v="431" actId="20577"/>
          <ac:spMkLst>
            <pc:docMk/>
            <pc:sldMk cId="1053774249" sldId="2147478641"/>
            <ac:spMk id="7" creationId="{82C666AB-6E17-BA0A-11B7-9E91640EB063}"/>
          </ac:spMkLst>
        </pc:spChg>
      </pc:sldChg>
      <pc:sldMasterChg chg="del delSldLayout">
        <pc:chgData name="Jonathan Vella" userId="ff59d9e4-9df8-4ae6-90e3-b837e2f6651b" providerId="ADAL" clId="{CD5DD2E6-22B4-4BF5-9176-595B441E8D01}" dt="2022-10-04T07:59:24.296" v="359" actId="47"/>
        <pc:sldMasterMkLst>
          <pc:docMk/>
          <pc:sldMasterMk cId="206201141" sldId="2147483648"/>
        </pc:sldMasterMkLst>
        <pc:sldLayoutChg chg="del">
          <pc:chgData name="Jonathan Vella" userId="ff59d9e4-9df8-4ae6-90e3-b837e2f6651b" providerId="ADAL" clId="{CD5DD2E6-22B4-4BF5-9176-595B441E8D01}" dt="2022-10-04T07:59:24.296" v="359" actId="47"/>
          <pc:sldLayoutMkLst>
            <pc:docMk/>
            <pc:sldMasterMk cId="206201141" sldId="2147483648"/>
            <pc:sldLayoutMk cId="568967118" sldId="214748364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319335980" sldId="2147483650"/>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968904968" sldId="2147483651"/>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697591105" sldId="214748365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09706746" sldId="2147483653"/>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613656679" sldId="2147483654"/>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874587751" sldId="2147483655"/>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336252229" sldId="214748365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542717169" sldId="214748365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227141218" sldId="214748365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444478741" sldId="214748365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13945124" sldId="2147483879"/>
          </pc:sldLayoutMkLst>
        </pc:sldLayoutChg>
        <pc:sldLayoutChg chg="del">
          <pc:chgData name="Jonathan Vella" userId="ff59d9e4-9df8-4ae6-90e3-b837e2f6651b" providerId="ADAL" clId="{CD5DD2E6-22B4-4BF5-9176-595B441E8D01}" dt="2022-10-04T07:59:11.059" v="357" actId="47"/>
          <pc:sldLayoutMkLst>
            <pc:docMk/>
            <pc:sldMasterMk cId="206201141" sldId="2147483648"/>
            <pc:sldLayoutMk cId="2343961652" sldId="214748391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840416311" sldId="214748391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245947175" sldId="214748391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605844557" sldId="214748391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4116448" sldId="214748391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176563058" sldId="2147483956"/>
          </pc:sldLayoutMkLst>
        </pc:sldLayoutChg>
      </pc:sldMasterChg>
      <pc:sldMasterChg chg="delSldLayout">
        <pc:chgData name="Jonathan Vella" userId="ff59d9e4-9df8-4ae6-90e3-b837e2f6651b" providerId="ADAL" clId="{CD5DD2E6-22B4-4BF5-9176-595B441E8D01}" dt="2022-10-04T07:58:50.368" v="353" actId="18676"/>
        <pc:sldMasterMkLst>
          <pc:docMk/>
          <pc:sldMasterMk cId="765175513" sldId="2147483700"/>
        </pc:sldMasterMkLst>
        <pc:sldLayoutChg chg="del">
          <pc:chgData name="Jonathan Vella" userId="ff59d9e4-9df8-4ae6-90e3-b837e2f6651b" providerId="ADAL" clId="{CD5DD2E6-22B4-4BF5-9176-595B441E8D01}" dt="2022-10-04T07:58:50.368" v="353" actId="18676"/>
          <pc:sldLayoutMkLst>
            <pc:docMk/>
            <pc:sldMasterMk cId="765175513" sldId="2147483700"/>
            <pc:sldLayoutMk cId="467869685" sldId="2147483732"/>
          </pc:sldLayoutMkLst>
        </pc:sldLayoutChg>
      </pc:sldMasterChg>
      <pc:sldMasterChg chg="delSldLayout">
        <pc:chgData name="Jonathan Vella" userId="ff59d9e4-9df8-4ae6-90e3-b837e2f6651b" providerId="ADAL" clId="{CD5DD2E6-22B4-4BF5-9176-595B441E8D01}" dt="2022-10-04T07:59:02.649" v="355" actId="18676"/>
        <pc:sldMasterMkLst>
          <pc:docMk/>
          <pc:sldMasterMk cId="828954947" sldId="2147483832"/>
        </pc:sldMasterMkLst>
        <pc:sldLayoutChg chg="del">
          <pc:chgData name="Jonathan Vella" userId="ff59d9e4-9df8-4ae6-90e3-b837e2f6651b" providerId="ADAL" clId="{CD5DD2E6-22B4-4BF5-9176-595B441E8D01}" dt="2022-10-04T07:58:50.368" v="353" actId="18676"/>
          <pc:sldLayoutMkLst>
            <pc:docMk/>
            <pc:sldMasterMk cId="828954947" sldId="2147483832"/>
            <pc:sldLayoutMk cId="1320049316" sldId="2147483858"/>
          </pc:sldLayoutMkLst>
        </pc:sldLayoutChg>
        <pc:sldLayoutChg chg="del">
          <pc:chgData name="Jonathan Vella" userId="ff59d9e4-9df8-4ae6-90e3-b837e2f6651b" providerId="ADAL" clId="{CD5DD2E6-22B4-4BF5-9176-595B441E8D01}" dt="2022-10-04T07:59:02.649" v="355" actId="18676"/>
          <pc:sldLayoutMkLst>
            <pc:docMk/>
            <pc:sldMasterMk cId="828954947" sldId="2147483832"/>
            <pc:sldLayoutMk cId="3084052498" sldId="2147483859"/>
          </pc:sldLayoutMkLst>
        </pc:sldLayoutChg>
        <pc:sldLayoutChg chg="del">
          <pc:chgData name="Jonathan Vella" userId="ff59d9e4-9df8-4ae6-90e3-b837e2f6651b" providerId="ADAL" clId="{CD5DD2E6-22B4-4BF5-9176-595B441E8D01}" dt="2022-10-04T07:57:38.413" v="345" actId="47"/>
          <pc:sldLayoutMkLst>
            <pc:docMk/>
            <pc:sldMasterMk cId="828954947" sldId="2147483832"/>
            <pc:sldLayoutMk cId="3353843723" sldId="2147483862"/>
          </pc:sldLayoutMkLst>
        </pc:sldLayoutChg>
        <pc:sldLayoutChg chg="del">
          <pc:chgData name="Jonathan Vella" userId="ff59d9e4-9df8-4ae6-90e3-b837e2f6651b" providerId="ADAL" clId="{CD5DD2E6-22B4-4BF5-9176-595B441E8D01}" dt="2022-10-04T07:58:50.368" v="353" actId="18676"/>
          <pc:sldLayoutMkLst>
            <pc:docMk/>
            <pc:sldMasterMk cId="828954947" sldId="2147483832"/>
            <pc:sldLayoutMk cId="2399797854" sldId="2147483870"/>
          </pc:sldLayoutMkLst>
        </pc:sldLayoutChg>
      </pc:sldMasterChg>
      <pc:sldMasterChg chg="del delSldLayout">
        <pc:chgData name="Jonathan Vella" userId="ff59d9e4-9df8-4ae6-90e3-b837e2f6651b" providerId="ADAL" clId="{CD5DD2E6-22B4-4BF5-9176-595B441E8D01}" dt="2022-10-04T07:58:50.368" v="353" actId="18676"/>
        <pc:sldMasterMkLst>
          <pc:docMk/>
          <pc:sldMasterMk cId="2460954070" sldId="2147483896"/>
        </pc:sldMasterMkLst>
        <pc:sldLayoutChg chg="del">
          <pc:chgData name="Jonathan Vella" userId="ff59d9e4-9df8-4ae6-90e3-b837e2f6651b" providerId="ADAL" clId="{CD5DD2E6-22B4-4BF5-9176-595B441E8D01}" dt="2022-10-04T07:58:50.368" v="353" actId="18676"/>
          <pc:sldLayoutMkLst>
            <pc:docMk/>
            <pc:sldMasterMk cId="2460954070" sldId="2147483896"/>
            <pc:sldLayoutMk cId="1203092039" sldId="2147483897"/>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733172339" sldId="2147483898"/>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210312558" sldId="2147483899"/>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46388984" sldId="214748390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71841454" sldId="214748390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385387890" sldId="214748391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949138452" sldId="2147483914"/>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91524520" sldId="2147483915"/>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1718958274" sldId="214748392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202905451" sldId="214748392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479445657" sldId="2147483922"/>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26186666" sldId="214748392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974343385" sldId="2147483925"/>
          </pc:sldLayoutMkLst>
        </pc:sldLayoutChg>
      </pc:sldMasterChg>
      <pc:sldMasterChg chg="delSldLayout">
        <pc:chgData name="Jonathan Vella" userId="ff59d9e4-9df8-4ae6-90e3-b837e2f6651b" providerId="ADAL" clId="{CD5DD2E6-22B4-4BF5-9176-595B441E8D01}" dt="2022-10-04T07:58:53.688" v="354" actId="18676"/>
        <pc:sldMasterMkLst>
          <pc:docMk/>
          <pc:sldMasterMk cId="3123774312" sldId="2147483926"/>
        </pc:sldMasterMkLst>
        <pc:sldLayoutChg chg="del">
          <pc:chgData name="Jonathan Vella" userId="ff59d9e4-9df8-4ae6-90e3-b837e2f6651b" providerId="ADAL" clId="{CD5DD2E6-22B4-4BF5-9176-595B441E8D01}" dt="2022-10-04T07:58:53.688" v="354" actId="18676"/>
          <pc:sldLayoutMkLst>
            <pc:docMk/>
            <pc:sldMasterMk cId="3123774312" sldId="2147483926"/>
            <pc:sldLayoutMk cId="546735191" sldId="2147483911"/>
          </pc:sldLayoutMkLst>
        </pc:sldLayoutChg>
      </pc:sldMasterChg>
    </pc:docChg>
  </pc:docChgLst>
  <pc:docChgLst>
    <pc:chgData name="Jonathan Vella" userId="ff59d9e4-9df8-4ae6-90e3-b837e2f6651b" providerId="ADAL" clId="{5E354878-CB4B-4F9D-A502-8883F324B3EF}"/>
    <pc:docChg chg="undo custSel addSld delSld modSld sldOrd addSection delSection modSection">
      <pc:chgData name="Jonathan Vella" userId="ff59d9e4-9df8-4ae6-90e3-b837e2f6651b" providerId="ADAL" clId="{5E354878-CB4B-4F9D-A502-8883F324B3EF}" dt="2022-04-25T16:28:33.639" v="4584" actId="6549"/>
      <pc:docMkLst>
        <pc:docMk/>
      </pc:docMkLst>
      <pc:sldChg chg="modSp">
        <pc:chgData name="Jonathan Vella" userId="ff59d9e4-9df8-4ae6-90e3-b837e2f6651b" providerId="ADAL" clId="{5E354878-CB4B-4F9D-A502-8883F324B3EF}" dt="2022-04-07T09:33:16.195" v="12" actId="1076"/>
        <pc:sldMkLst>
          <pc:docMk/>
          <pc:sldMk cId="2480172102" sldId="263"/>
        </pc:sldMkLst>
        <pc:picChg chg="mod">
          <ac:chgData name="Jonathan Vella" userId="ff59d9e4-9df8-4ae6-90e3-b837e2f6651b" providerId="ADAL" clId="{5E354878-CB4B-4F9D-A502-8883F324B3EF}" dt="2022-04-07T09:33:16.195" v="12" actId="1076"/>
          <ac:picMkLst>
            <pc:docMk/>
            <pc:sldMk cId="2480172102" sldId="263"/>
            <ac:picMk id="3" creationId="{F019845A-5C09-41A1-988E-D6FCC438DCE8}"/>
          </ac:picMkLst>
        </pc:picChg>
      </pc:sldChg>
      <pc:sldChg chg="modSp mod modShow">
        <pc:chgData name="Jonathan Vella" userId="ff59d9e4-9df8-4ae6-90e3-b837e2f6651b" providerId="ADAL" clId="{5E354878-CB4B-4F9D-A502-8883F324B3EF}" dt="2022-04-12T12:08:20.348" v="2315" actId="120"/>
        <pc:sldMkLst>
          <pc:docMk/>
          <pc:sldMk cId="3225590302" sldId="2040"/>
        </pc:sldMkLst>
        <pc:spChg chg="mod">
          <ac:chgData name="Jonathan Vella" userId="ff59d9e4-9df8-4ae6-90e3-b837e2f6651b" providerId="ADAL" clId="{5E354878-CB4B-4F9D-A502-8883F324B3EF}" dt="2022-04-12T12:08:20.348" v="2315" actId="120"/>
          <ac:spMkLst>
            <pc:docMk/>
            <pc:sldMk cId="3225590302" sldId="2040"/>
            <ac:spMk id="6" creationId="{45B54B4C-2B13-4E28-903C-D3503FEA345B}"/>
          </ac:spMkLst>
        </pc:spChg>
      </pc:sldChg>
      <pc:sldChg chg="del">
        <pc:chgData name="Jonathan Vella" userId="ff59d9e4-9df8-4ae6-90e3-b837e2f6651b" providerId="ADAL" clId="{5E354878-CB4B-4F9D-A502-8883F324B3EF}" dt="2022-04-07T08:25:27.394" v="8" actId="47"/>
        <pc:sldMkLst>
          <pc:docMk/>
          <pc:sldMk cId="3822969269" sldId="2088"/>
        </pc:sldMkLst>
      </pc:sldChg>
      <pc:sldChg chg="del">
        <pc:chgData name="Jonathan Vella" userId="ff59d9e4-9df8-4ae6-90e3-b837e2f6651b" providerId="ADAL" clId="{5E354878-CB4B-4F9D-A502-8883F324B3EF}" dt="2022-04-07T08:25:10.908" v="6" actId="47"/>
        <pc:sldMkLst>
          <pc:docMk/>
          <pc:sldMk cId="3614617496" sldId="2099"/>
        </pc:sldMkLst>
      </pc:sldChg>
      <pc:sldChg chg="del">
        <pc:chgData name="Jonathan Vella" userId="ff59d9e4-9df8-4ae6-90e3-b837e2f6651b" providerId="ADAL" clId="{5E354878-CB4B-4F9D-A502-8883F324B3EF}" dt="2022-04-07T08:25:25.220" v="7" actId="47"/>
        <pc:sldMkLst>
          <pc:docMk/>
          <pc:sldMk cId="2832182524" sldId="2100"/>
        </pc:sldMkLst>
      </pc:sldChg>
      <pc:sldChg chg="del">
        <pc:chgData name="Jonathan Vella" userId="ff59d9e4-9df8-4ae6-90e3-b837e2f6651b" providerId="ADAL" clId="{5E354878-CB4B-4F9D-A502-8883F324B3EF}" dt="2022-04-07T08:25:10.908" v="6" actId="47"/>
        <pc:sldMkLst>
          <pc:docMk/>
          <pc:sldMk cId="3500048810" sldId="2111"/>
        </pc:sldMkLst>
      </pc:sldChg>
      <pc:sldChg chg="del">
        <pc:chgData name="Jonathan Vella" userId="ff59d9e4-9df8-4ae6-90e3-b837e2f6651b" providerId="ADAL" clId="{5E354878-CB4B-4F9D-A502-8883F324B3EF}" dt="2022-04-07T08:27:46.219" v="11" actId="47"/>
        <pc:sldMkLst>
          <pc:docMk/>
          <pc:sldMk cId="4212373032" sldId="2112"/>
        </pc:sldMkLst>
      </pc:sldChg>
      <pc:sldChg chg="del">
        <pc:chgData name="Jonathan Vella" userId="ff59d9e4-9df8-4ae6-90e3-b837e2f6651b" providerId="ADAL" clId="{5E354878-CB4B-4F9D-A502-8883F324B3EF}" dt="2022-04-07T08:24:48.674" v="5" actId="47"/>
        <pc:sldMkLst>
          <pc:docMk/>
          <pc:sldMk cId="22182604" sldId="2119"/>
        </pc:sldMkLst>
      </pc:sldChg>
      <pc:sldChg chg="ord">
        <pc:chgData name="Jonathan Vella" userId="ff59d9e4-9df8-4ae6-90e3-b837e2f6651b" providerId="ADAL" clId="{5E354878-CB4B-4F9D-A502-8883F324B3EF}" dt="2022-04-07T08:24:43.945" v="3"/>
        <pc:sldMkLst>
          <pc:docMk/>
          <pc:sldMk cId="726869788" sldId="2120"/>
        </pc:sldMkLst>
      </pc:sldChg>
      <pc:sldChg chg="del">
        <pc:chgData name="Jonathan Vella" userId="ff59d9e4-9df8-4ae6-90e3-b837e2f6651b" providerId="ADAL" clId="{5E354878-CB4B-4F9D-A502-8883F324B3EF}" dt="2022-04-07T08:27:46.219" v="11" actId="47"/>
        <pc:sldMkLst>
          <pc:docMk/>
          <pc:sldMk cId="773335685" sldId="2121"/>
        </pc:sldMkLst>
      </pc:sldChg>
      <pc:sldChg chg="ord">
        <pc:chgData name="Jonathan Vella" userId="ff59d9e4-9df8-4ae6-90e3-b837e2f6651b" providerId="ADAL" clId="{5E354878-CB4B-4F9D-A502-8883F324B3EF}" dt="2022-04-12T12:09:06.114" v="2320"/>
        <pc:sldMkLst>
          <pc:docMk/>
          <pc:sldMk cId="2874508150" sldId="4649"/>
        </pc:sldMkLst>
      </pc:sldChg>
      <pc:sldChg chg="del">
        <pc:chgData name="Jonathan Vella" userId="ff59d9e4-9df8-4ae6-90e3-b837e2f6651b" providerId="ADAL" clId="{5E354878-CB4B-4F9D-A502-8883F324B3EF}" dt="2022-04-12T12:07:35.072" v="2312" actId="47"/>
        <pc:sldMkLst>
          <pc:docMk/>
          <pc:sldMk cId="89966766" sldId="10655"/>
        </pc:sldMkLst>
      </pc:sldChg>
      <pc:sldChg chg="modSp mod ord modShow">
        <pc:chgData name="Jonathan Vella" userId="ff59d9e4-9df8-4ae6-90e3-b837e2f6651b" providerId="ADAL" clId="{5E354878-CB4B-4F9D-A502-8883F324B3EF}" dt="2022-04-12T12:08:40.219" v="2317" actId="120"/>
        <pc:sldMkLst>
          <pc:docMk/>
          <pc:sldMk cId="3296622217" sldId="2076136993"/>
        </pc:sldMkLst>
        <pc:spChg chg="mod">
          <ac:chgData name="Jonathan Vella" userId="ff59d9e4-9df8-4ae6-90e3-b837e2f6651b" providerId="ADAL" clId="{5E354878-CB4B-4F9D-A502-8883F324B3EF}" dt="2022-04-12T12:08:40.219" v="2317" actId="120"/>
          <ac:spMkLst>
            <pc:docMk/>
            <pc:sldMk cId="3296622217" sldId="2076136993"/>
            <ac:spMk id="31" creationId="{2D6BD3E2-B2BC-425A-ABAF-C30882D84FF0}"/>
          </ac:spMkLst>
        </pc:spChg>
      </pc:sldChg>
      <pc:sldChg chg="del">
        <pc:chgData name="Jonathan Vella" userId="ff59d9e4-9df8-4ae6-90e3-b837e2f6651b" providerId="ADAL" clId="{5E354878-CB4B-4F9D-A502-8883F324B3EF}" dt="2022-03-29T10:54:43.092" v="0" actId="47"/>
        <pc:sldMkLst>
          <pc:docMk/>
          <pc:sldMk cId="1820734558" sldId="2076137811"/>
        </pc:sldMkLst>
      </pc:sldChg>
      <pc:sldChg chg="del">
        <pc:chgData name="Jonathan Vella" userId="ff59d9e4-9df8-4ae6-90e3-b837e2f6651b" providerId="ADAL" clId="{5E354878-CB4B-4F9D-A502-8883F324B3EF}" dt="2022-04-07T08:27:17.941" v="10" actId="47"/>
        <pc:sldMkLst>
          <pc:docMk/>
          <pc:sldMk cId="2629943877" sldId="2076137824"/>
        </pc:sldMkLst>
      </pc:sldChg>
      <pc:sldChg chg="del">
        <pc:chgData name="Jonathan Vella" userId="ff59d9e4-9df8-4ae6-90e3-b837e2f6651b" providerId="ADAL" clId="{5E354878-CB4B-4F9D-A502-8883F324B3EF}" dt="2022-03-29T10:54:44.641" v="1" actId="47"/>
        <pc:sldMkLst>
          <pc:docMk/>
          <pc:sldMk cId="3286270814" sldId="2076137825"/>
        </pc:sldMkLst>
      </pc:sldChg>
      <pc:sldChg chg="modSp mod">
        <pc:chgData name="Jonathan Vella" userId="ff59d9e4-9df8-4ae6-90e3-b837e2f6651b" providerId="ADAL" clId="{5E354878-CB4B-4F9D-A502-8883F324B3EF}" dt="2022-04-11T08:19:13.617" v="13" actId="20577"/>
        <pc:sldMkLst>
          <pc:docMk/>
          <pc:sldMk cId="1773292696" sldId="2076137826"/>
        </pc:sldMkLst>
        <pc:spChg chg="mod">
          <ac:chgData name="Jonathan Vella" userId="ff59d9e4-9df8-4ae6-90e3-b837e2f6651b" providerId="ADAL" clId="{5E354878-CB4B-4F9D-A502-8883F324B3EF}" dt="2022-04-11T08:19:13.617" v="13" actId="20577"/>
          <ac:spMkLst>
            <pc:docMk/>
            <pc:sldMk cId="1773292696" sldId="2076137826"/>
            <ac:spMk id="2" creationId="{D0D79292-2676-3343-A684-812C7C4DB8CE}"/>
          </ac:spMkLst>
        </pc:spChg>
      </pc:sldChg>
      <pc:sldChg chg="modSp mod">
        <pc:chgData name="Jonathan Vella" userId="ff59d9e4-9df8-4ae6-90e3-b837e2f6651b" providerId="ADAL" clId="{5E354878-CB4B-4F9D-A502-8883F324B3EF}" dt="2022-04-25T16:28:33.639" v="4584" actId="6549"/>
        <pc:sldMkLst>
          <pc:docMk/>
          <pc:sldMk cId="3948430080" sldId="2076137836"/>
        </pc:sldMkLst>
        <pc:spChg chg="mod">
          <ac:chgData name="Jonathan Vella" userId="ff59d9e4-9df8-4ae6-90e3-b837e2f6651b" providerId="ADAL" clId="{5E354878-CB4B-4F9D-A502-8883F324B3EF}" dt="2022-04-25T16:28:33.639" v="4584" actId="6549"/>
          <ac:spMkLst>
            <pc:docMk/>
            <pc:sldMk cId="3948430080" sldId="2076137836"/>
            <ac:spMk id="5" creationId="{E8219932-6066-469D-B9E0-361185514E71}"/>
          </ac:spMkLst>
        </pc:spChg>
      </pc:sldChg>
      <pc:sldChg chg="addSp delSp modSp mod">
        <pc:chgData name="Jonathan Vella" userId="ff59d9e4-9df8-4ae6-90e3-b837e2f6651b" providerId="ADAL" clId="{5E354878-CB4B-4F9D-A502-8883F324B3EF}" dt="2022-04-25T15:09:27.002" v="2983" actId="1076"/>
        <pc:sldMkLst>
          <pc:docMk/>
          <pc:sldMk cId="2069725814" sldId="2076137847"/>
        </pc:sldMkLst>
        <pc:spChg chg="mod">
          <ac:chgData name="Jonathan Vella" userId="ff59d9e4-9df8-4ae6-90e3-b837e2f6651b" providerId="ADAL" clId="{5E354878-CB4B-4F9D-A502-8883F324B3EF}" dt="2022-04-25T15:09:27.002" v="2983" actId="1076"/>
          <ac:spMkLst>
            <pc:docMk/>
            <pc:sldMk cId="2069725814" sldId="2076137847"/>
            <ac:spMk id="2" creationId="{11B89988-DBBE-4995-A971-E9E08105E14F}"/>
          </ac:spMkLst>
        </pc:spChg>
        <pc:spChg chg="add del mod">
          <ac:chgData name="Jonathan Vella" userId="ff59d9e4-9df8-4ae6-90e3-b837e2f6651b" providerId="ADAL" clId="{5E354878-CB4B-4F9D-A502-8883F324B3EF}" dt="2022-04-25T15:07:54.751" v="2969" actId="478"/>
          <ac:spMkLst>
            <pc:docMk/>
            <pc:sldMk cId="2069725814" sldId="2076137847"/>
            <ac:spMk id="3" creationId="{2C63DFDA-8637-4082-A042-07C920B63B05}"/>
          </ac:spMkLst>
        </pc:spChg>
        <pc:spChg chg="mod">
          <ac:chgData name="Jonathan Vella" userId="ff59d9e4-9df8-4ae6-90e3-b837e2f6651b" providerId="ADAL" clId="{5E354878-CB4B-4F9D-A502-8883F324B3EF}" dt="2022-04-25T15:01:31.441" v="2830" actId="27636"/>
          <ac:spMkLst>
            <pc:docMk/>
            <pc:sldMk cId="2069725814" sldId="2076137847"/>
            <ac:spMk id="4" creationId="{72C9FE05-70C0-4E54-9D95-0F457C35CF29}"/>
          </ac:spMkLst>
        </pc:spChg>
        <pc:spChg chg="del mod">
          <ac:chgData name="Jonathan Vella" userId="ff59d9e4-9df8-4ae6-90e3-b837e2f6651b" providerId="ADAL" clId="{5E354878-CB4B-4F9D-A502-8883F324B3EF}" dt="2022-04-25T15:02:54.457" v="2845" actId="478"/>
          <ac:spMkLst>
            <pc:docMk/>
            <pc:sldMk cId="2069725814" sldId="2076137847"/>
            <ac:spMk id="6" creationId="{70140CC1-1E18-46D7-AE99-D15871D3A2F7}"/>
          </ac:spMkLst>
        </pc:spChg>
        <pc:spChg chg="add del mod">
          <ac:chgData name="Jonathan Vella" userId="ff59d9e4-9df8-4ae6-90e3-b837e2f6651b" providerId="ADAL" clId="{5E354878-CB4B-4F9D-A502-8883F324B3EF}" dt="2022-04-25T15:00:29.594" v="2803" actId="478"/>
          <ac:spMkLst>
            <pc:docMk/>
            <pc:sldMk cId="2069725814" sldId="2076137847"/>
            <ac:spMk id="8" creationId="{55C05896-80A3-DCE0-1C49-F379EBD4D3C7}"/>
          </ac:spMkLst>
        </pc:spChg>
        <pc:spChg chg="add del mod">
          <ac:chgData name="Jonathan Vella" userId="ff59d9e4-9df8-4ae6-90e3-b837e2f6651b" providerId="ADAL" clId="{5E354878-CB4B-4F9D-A502-8883F324B3EF}" dt="2022-04-25T15:07:56.585" v="2970" actId="478"/>
          <ac:spMkLst>
            <pc:docMk/>
            <pc:sldMk cId="2069725814" sldId="2076137847"/>
            <ac:spMk id="10" creationId="{CE1728B4-1D7B-0F43-F3AD-B815F2CECDAC}"/>
          </ac:spMkLst>
        </pc:spChg>
        <pc:picChg chg="add mod">
          <ac:chgData name="Jonathan Vella" userId="ff59d9e4-9df8-4ae6-90e3-b837e2f6651b" providerId="ADAL" clId="{5E354878-CB4B-4F9D-A502-8883F324B3EF}" dt="2022-04-25T15:08:01.826" v="2972" actId="1076"/>
          <ac:picMkLst>
            <pc:docMk/>
            <pc:sldMk cId="2069725814" sldId="2076137847"/>
            <ac:picMk id="1026" creationId="{2F1506D7-DF19-3B23-7A40-9BCD0EC55805}"/>
          </ac:picMkLst>
        </pc:picChg>
        <pc:picChg chg="del mod">
          <ac:chgData name="Jonathan Vella" userId="ff59d9e4-9df8-4ae6-90e3-b837e2f6651b" providerId="ADAL" clId="{5E354878-CB4B-4F9D-A502-8883F324B3EF}" dt="2022-04-25T15:02:23.488" v="2836" actId="478"/>
          <ac:picMkLst>
            <pc:docMk/>
            <pc:sldMk cId="2069725814" sldId="2076137847"/>
            <ac:picMk id="4098" creationId="{9BB21486-4A80-47B9-A22B-EDD1ABD2B744}"/>
          </ac:picMkLst>
        </pc:picChg>
      </pc:sldChg>
      <pc:sldChg chg="addSp delSp modSp mod">
        <pc:chgData name="Jonathan Vella" userId="ff59d9e4-9df8-4ae6-90e3-b837e2f6651b" providerId="ADAL" clId="{5E354878-CB4B-4F9D-A502-8883F324B3EF}" dt="2022-04-25T16:26:45.201" v="4572" actId="242"/>
        <pc:sldMkLst>
          <pc:docMk/>
          <pc:sldMk cId="3731984453" sldId="2076137848"/>
        </pc:sldMkLst>
        <pc:spChg chg="del">
          <ac:chgData name="Jonathan Vella" userId="ff59d9e4-9df8-4ae6-90e3-b837e2f6651b" providerId="ADAL" clId="{5E354878-CB4B-4F9D-A502-8883F324B3EF}" dt="2022-04-25T15:08:19.034" v="2975" actId="478"/>
          <ac:spMkLst>
            <pc:docMk/>
            <pc:sldMk cId="3731984453" sldId="2076137848"/>
            <ac:spMk id="2" creationId="{27859CFC-1C9A-46E1-A3F4-FAA39C991D1F}"/>
          </ac:spMkLst>
        </pc:spChg>
        <pc:spChg chg="mod">
          <ac:chgData name="Jonathan Vella" userId="ff59d9e4-9df8-4ae6-90e3-b837e2f6651b" providerId="ADAL" clId="{5E354878-CB4B-4F9D-A502-8883F324B3EF}" dt="2022-04-25T16:26:45.201" v="4572" actId="242"/>
          <ac:spMkLst>
            <pc:docMk/>
            <pc:sldMk cId="3731984453" sldId="2076137848"/>
            <ac:spMk id="3" creationId="{E633064A-13F8-4993-9A17-E997E8593FC0}"/>
          </ac:spMkLst>
        </pc:spChg>
        <pc:spChg chg="mod">
          <ac:chgData name="Jonathan Vella" userId="ff59d9e4-9df8-4ae6-90e3-b837e2f6651b" providerId="ADAL" clId="{5E354878-CB4B-4F9D-A502-8883F324B3EF}" dt="2022-04-25T15:09:45.848" v="2984"/>
          <ac:spMkLst>
            <pc:docMk/>
            <pc:sldMk cId="3731984453" sldId="2076137848"/>
            <ac:spMk id="8" creationId="{4D13FDA0-1723-4050-8EA1-0FDEC3827D82}"/>
          </ac:spMkLst>
        </pc:spChg>
        <pc:spChg chg="add del mod">
          <ac:chgData name="Jonathan Vella" userId="ff59d9e4-9df8-4ae6-90e3-b837e2f6651b" providerId="ADAL" clId="{5E354878-CB4B-4F9D-A502-8883F324B3EF}" dt="2022-04-25T15:08:20.959" v="2976" actId="478"/>
          <ac:spMkLst>
            <pc:docMk/>
            <pc:sldMk cId="3731984453" sldId="2076137848"/>
            <ac:spMk id="10" creationId="{48F22524-0F0F-6F69-7CA2-17879836AC48}"/>
          </ac:spMkLst>
        </pc:spChg>
      </pc:sldChg>
      <pc:sldChg chg="addSp delSp modSp mod ord">
        <pc:chgData name="Jonathan Vella" userId="ff59d9e4-9df8-4ae6-90e3-b837e2f6651b" providerId="ADAL" clId="{5E354878-CB4B-4F9D-A502-8883F324B3EF}" dt="2022-04-25T16:27:30.154" v="4577" actId="1076"/>
        <pc:sldMkLst>
          <pc:docMk/>
          <pc:sldMk cId="3100899148" sldId="2076137849"/>
        </pc:sldMkLst>
        <pc:spChg chg="mod">
          <ac:chgData name="Jonathan Vella" userId="ff59d9e4-9df8-4ae6-90e3-b837e2f6651b" providerId="ADAL" clId="{5E354878-CB4B-4F9D-A502-8883F324B3EF}" dt="2022-04-25T16:27:30.154" v="4577" actId="1076"/>
          <ac:spMkLst>
            <pc:docMk/>
            <pc:sldMk cId="3100899148" sldId="2076137849"/>
            <ac:spMk id="2" creationId="{71BF9F57-D033-420E-8A9B-3F888D79A280}"/>
          </ac:spMkLst>
        </pc:spChg>
        <pc:spChg chg="del mod">
          <ac:chgData name="Jonathan Vella" userId="ff59d9e4-9df8-4ae6-90e3-b837e2f6651b" providerId="ADAL" clId="{5E354878-CB4B-4F9D-A502-8883F324B3EF}" dt="2022-04-25T15:20:16.993" v="3118" actId="478"/>
          <ac:spMkLst>
            <pc:docMk/>
            <pc:sldMk cId="3100899148" sldId="2076137849"/>
            <ac:spMk id="8" creationId="{60A32669-BE59-4C5E-9F43-9017847F3116}"/>
          </ac:spMkLst>
        </pc:spChg>
        <pc:spChg chg="del">
          <ac:chgData name="Jonathan Vella" userId="ff59d9e4-9df8-4ae6-90e3-b837e2f6651b" providerId="ADAL" clId="{5E354878-CB4B-4F9D-A502-8883F324B3EF}" dt="2022-04-25T15:20:18.566" v="3119" actId="478"/>
          <ac:spMkLst>
            <pc:docMk/>
            <pc:sldMk cId="3100899148" sldId="2076137849"/>
            <ac:spMk id="9" creationId="{8D8BE28D-E341-400B-9FC5-7CE53864781E}"/>
          </ac:spMkLst>
        </pc:spChg>
        <pc:spChg chg="add mod">
          <ac:chgData name="Jonathan Vella" userId="ff59d9e4-9df8-4ae6-90e3-b837e2f6651b" providerId="ADAL" clId="{5E354878-CB4B-4F9D-A502-8883F324B3EF}" dt="2022-04-25T15:20:24.532" v="3121" actId="1076"/>
          <ac:spMkLst>
            <pc:docMk/>
            <pc:sldMk cId="3100899148" sldId="2076137849"/>
            <ac:spMk id="10" creationId="{642C08DE-D5BE-D9CE-82BE-164425DBCE7F}"/>
          </ac:spMkLst>
        </pc:spChg>
      </pc:sldChg>
      <pc:sldChg chg="addSp delSp modSp mod">
        <pc:chgData name="Jonathan Vella" userId="ff59d9e4-9df8-4ae6-90e3-b837e2f6651b" providerId="ADAL" clId="{5E354878-CB4B-4F9D-A502-8883F324B3EF}" dt="2022-04-25T16:26:58.488" v="4573" actId="242"/>
        <pc:sldMkLst>
          <pc:docMk/>
          <pc:sldMk cId="327522770" sldId="2076137850"/>
        </pc:sldMkLst>
        <pc:spChg chg="add del mod">
          <ac:chgData name="Jonathan Vella" userId="ff59d9e4-9df8-4ae6-90e3-b837e2f6651b" providerId="ADAL" clId="{5E354878-CB4B-4F9D-A502-8883F324B3EF}" dt="2022-04-25T15:19:09.504" v="3098" actId="1076"/>
          <ac:spMkLst>
            <pc:docMk/>
            <pc:sldMk cId="327522770" sldId="2076137850"/>
            <ac:spMk id="2" creationId="{C6F6389F-1A50-440C-8A73-F2BA5766A1CE}"/>
          </ac:spMkLst>
        </pc:spChg>
        <pc:spChg chg="mod">
          <ac:chgData name="Jonathan Vella" userId="ff59d9e4-9df8-4ae6-90e3-b837e2f6651b" providerId="ADAL" clId="{5E354878-CB4B-4F9D-A502-8883F324B3EF}" dt="2022-04-25T15:19:09.504" v="3098" actId="1076"/>
          <ac:spMkLst>
            <pc:docMk/>
            <pc:sldMk cId="327522770" sldId="2076137850"/>
            <ac:spMk id="4" creationId="{3A46ABD3-8BD7-4947-ADD4-C78BC66B2262}"/>
          </ac:spMkLst>
        </pc:spChg>
        <pc:spChg chg="mod">
          <ac:chgData name="Jonathan Vella" userId="ff59d9e4-9df8-4ae6-90e3-b837e2f6651b" providerId="ADAL" clId="{5E354878-CB4B-4F9D-A502-8883F324B3EF}" dt="2022-04-25T16:26:58.488" v="4573" actId="242"/>
          <ac:spMkLst>
            <pc:docMk/>
            <pc:sldMk cId="327522770" sldId="2076137850"/>
            <ac:spMk id="7" creationId="{93BAD997-D10D-4E54-BD34-3A400879A6F9}"/>
          </ac:spMkLst>
        </pc:spChg>
        <pc:spChg chg="add mod">
          <ac:chgData name="Jonathan Vella" userId="ff59d9e4-9df8-4ae6-90e3-b837e2f6651b" providerId="ADAL" clId="{5E354878-CB4B-4F9D-A502-8883F324B3EF}" dt="2022-04-25T15:19:01.768" v="3097" actId="1076"/>
          <ac:spMkLst>
            <pc:docMk/>
            <pc:sldMk cId="327522770" sldId="2076137850"/>
            <ac:spMk id="10" creationId="{7D290550-282A-D3E8-D3E6-4684D644B3BD}"/>
          </ac:spMkLst>
        </pc:spChg>
        <pc:picChg chg="mod">
          <ac:chgData name="Jonathan Vella" userId="ff59d9e4-9df8-4ae6-90e3-b837e2f6651b" providerId="ADAL" clId="{5E354878-CB4B-4F9D-A502-8883F324B3EF}" dt="2022-04-25T15:19:09.504" v="3098" actId="1076"/>
          <ac:picMkLst>
            <pc:docMk/>
            <pc:sldMk cId="327522770" sldId="2076137850"/>
            <ac:picMk id="2050" creationId="{25F785E2-2D6C-436D-A702-23AA66628560}"/>
          </ac:picMkLst>
        </pc:picChg>
      </pc:sldChg>
      <pc:sldChg chg="delSp modSp mod">
        <pc:chgData name="Jonathan Vella" userId="ff59d9e4-9df8-4ae6-90e3-b837e2f6651b" providerId="ADAL" clId="{5E354878-CB4B-4F9D-A502-8883F324B3EF}" dt="2022-04-25T16:27:41.186" v="4579" actId="1076"/>
        <pc:sldMkLst>
          <pc:docMk/>
          <pc:sldMk cId="2455023361" sldId="2076137851"/>
        </pc:sldMkLst>
        <pc:spChg chg="mod">
          <ac:chgData name="Jonathan Vella" userId="ff59d9e4-9df8-4ae6-90e3-b837e2f6651b" providerId="ADAL" clId="{5E354878-CB4B-4F9D-A502-8883F324B3EF}" dt="2022-04-25T16:27:41.186" v="4579" actId="1076"/>
          <ac:spMkLst>
            <pc:docMk/>
            <pc:sldMk cId="2455023361" sldId="2076137851"/>
            <ac:spMk id="7" creationId="{93BAD997-D10D-4E54-BD34-3A400879A6F9}"/>
          </ac:spMkLst>
        </pc:spChg>
        <pc:spChg chg="mod">
          <ac:chgData name="Jonathan Vella" userId="ff59d9e4-9df8-4ae6-90e3-b837e2f6651b" providerId="ADAL" clId="{5E354878-CB4B-4F9D-A502-8883F324B3EF}" dt="2022-04-25T15:30:02.457" v="3185"/>
          <ac:spMkLst>
            <pc:docMk/>
            <pc:sldMk cId="2455023361" sldId="2076137851"/>
            <ac:spMk id="8" creationId="{0D7A773F-DC88-4F58-9945-B6CB4289C08E}"/>
          </ac:spMkLst>
        </pc:spChg>
        <pc:spChg chg="del">
          <ac:chgData name="Jonathan Vella" userId="ff59d9e4-9df8-4ae6-90e3-b837e2f6651b" providerId="ADAL" clId="{5E354878-CB4B-4F9D-A502-8883F324B3EF}" dt="2022-04-25T15:30:09.908" v="3186" actId="478"/>
          <ac:spMkLst>
            <pc:docMk/>
            <pc:sldMk cId="2455023361" sldId="2076137851"/>
            <ac:spMk id="9" creationId="{D300C462-F65C-4CD8-ADC9-169D31458C21}"/>
          </ac:spMkLst>
        </pc:spChg>
      </pc:sldChg>
      <pc:sldChg chg="delSp modSp mod">
        <pc:chgData name="Jonathan Vella" userId="ff59d9e4-9df8-4ae6-90e3-b837e2f6651b" providerId="ADAL" clId="{5E354878-CB4B-4F9D-A502-8883F324B3EF}" dt="2022-04-25T16:27:47.475" v="4580" actId="242"/>
        <pc:sldMkLst>
          <pc:docMk/>
          <pc:sldMk cId="611620722" sldId="2076137852"/>
        </pc:sldMkLst>
        <pc:spChg chg="del">
          <ac:chgData name="Jonathan Vella" userId="ff59d9e4-9df8-4ae6-90e3-b837e2f6651b" providerId="ADAL" clId="{5E354878-CB4B-4F9D-A502-8883F324B3EF}" dt="2022-04-25T15:29:28.668" v="3182" actId="478"/>
          <ac:spMkLst>
            <pc:docMk/>
            <pc:sldMk cId="611620722" sldId="2076137852"/>
            <ac:spMk id="3" creationId="{B7BD6EA2-4556-4913-883D-4C277A26052C}"/>
          </ac:spMkLst>
        </pc:spChg>
        <pc:spChg chg="mod">
          <ac:chgData name="Jonathan Vella" userId="ff59d9e4-9df8-4ae6-90e3-b837e2f6651b" providerId="ADAL" clId="{5E354878-CB4B-4F9D-A502-8883F324B3EF}" dt="2022-04-25T15:48:42.400" v="3988" actId="20577"/>
          <ac:spMkLst>
            <pc:docMk/>
            <pc:sldMk cId="611620722" sldId="2076137852"/>
            <ac:spMk id="6" creationId="{13652C33-6913-4946-A58A-AF744D18BF78}"/>
          </ac:spMkLst>
        </pc:spChg>
        <pc:spChg chg="mod">
          <ac:chgData name="Jonathan Vella" userId="ff59d9e4-9df8-4ae6-90e3-b837e2f6651b" providerId="ADAL" clId="{5E354878-CB4B-4F9D-A502-8883F324B3EF}" dt="2022-04-25T16:27:47.475" v="4580" actId="242"/>
          <ac:spMkLst>
            <pc:docMk/>
            <pc:sldMk cId="611620722" sldId="2076137852"/>
            <ac:spMk id="7" creationId="{93BAD997-D10D-4E54-BD34-3A400879A6F9}"/>
          </ac:spMkLst>
        </pc:spChg>
      </pc:sldChg>
      <pc:sldChg chg="delSp modSp mod ord">
        <pc:chgData name="Jonathan Vella" userId="ff59d9e4-9df8-4ae6-90e3-b837e2f6651b" providerId="ADAL" clId="{5E354878-CB4B-4F9D-A502-8883F324B3EF}" dt="2022-04-25T16:27:12.647" v="4575" actId="1076"/>
        <pc:sldMkLst>
          <pc:docMk/>
          <pc:sldMk cId="33341425" sldId="2076137853"/>
        </pc:sldMkLst>
        <pc:spChg chg="del">
          <ac:chgData name="Jonathan Vella" userId="ff59d9e4-9df8-4ae6-90e3-b837e2f6651b" providerId="ADAL" clId="{5E354878-CB4B-4F9D-A502-8883F324B3EF}" dt="2022-04-25T15:52:09.618" v="3994" actId="478"/>
          <ac:spMkLst>
            <pc:docMk/>
            <pc:sldMk cId="33341425" sldId="2076137853"/>
            <ac:spMk id="3" creationId="{B8891AC4-0F34-417B-8221-4976E1240D08}"/>
          </ac:spMkLst>
        </pc:spChg>
        <pc:spChg chg="mod">
          <ac:chgData name="Jonathan Vella" userId="ff59d9e4-9df8-4ae6-90e3-b837e2f6651b" providerId="ADAL" clId="{5E354878-CB4B-4F9D-A502-8883F324B3EF}" dt="2022-04-25T15:52:35.088" v="3999" actId="20577"/>
          <ac:spMkLst>
            <pc:docMk/>
            <pc:sldMk cId="33341425" sldId="2076137853"/>
            <ac:spMk id="6" creationId="{E6E3F25D-E845-4D50-A03D-ECE3EECBDC33}"/>
          </ac:spMkLst>
        </pc:spChg>
        <pc:spChg chg="mod">
          <ac:chgData name="Jonathan Vella" userId="ff59d9e4-9df8-4ae6-90e3-b837e2f6651b" providerId="ADAL" clId="{5E354878-CB4B-4F9D-A502-8883F324B3EF}" dt="2022-04-25T16:27:12.647" v="4575" actId="1076"/>
          <ac:spMkLst>
            <pc:docMk/>
            <pc:sldMk cId="33341425" sldId="2076137853"/>
            <ac:spMk id="7" creationId="{93BAD997-D10D-4E54-BD34-3A400879A6F9}"/>
          </ac:spMkLst>
        </pc:spChg>
      </pc:sldChg>
      <pc:sldChg chg="delSp modSp mod">
        <pc:chgData name="Jonathan Vella" userId="ff59d9e4-9df8-4ae6-90e3-b837e2f6651b" providerId="ADAL" clId="{5E354878-CB4B-4F9D-A502-8883F324B3EF}" dt="2022-04-25T16:28:01.878" v="4583" actId="242"/>
        <pc:sldMkLst>
          <pc:docMk/>
          <pc:sldMk cId="1745609036" sldId="2076137854"/>
        </pc:sldMkLst>
        <pc:spChg chg="del">
          <ac:chgData name="Jonathan Vella" userId="ff59d9e4-9df8-4ae6-90e3-b837e2f6651b" providerId="ADAL" clId="{5E354878-CB4B-4F9D-A502-8883F324B3EF}" dt="2022-04-25T16:20:10.058" v="4334" actId="478"/>
          <ac:spMkLst>
            <pc:docMk/>
            <pc:sldMk cId="1745609036" sldId="2076137854"/>
            <ac:spMk id="4" creationId="{8B24BBB8-FEB2-4E36-9837-77AE763F8EF8}"/>
          </ac:spMkLst>
        </pc:spChg>
        <pc:spChg chg="mod">
          <ac:chgData name="Jonathan Vella" userId="ff59d9e4-9df8-4ae6-90e3-b837e2f6651b" providerId="ADAL" clId="{5E354878-CB4B-4F9D-A502-8883F324B3EF}" dt="2022-04-25T16:21:25.473" v="4411"/>
          <ac:spMkLst>
            <pc:docMk/>
            <pc:sldMk cId="1745609036" sldId="2076137854"/>
            <ac:spMk id="6" creationId="{04FD033E-A3FA-41F2-B95F-D74A0F0A8549}"/>
          </ac:spMkLst>
        </pc:spChg>
        <pc:spChg chg="mod">
          <ac:chgData name="Jonathan Vella" userId="ff59d9e4-9df8-4ae6-90e3-b837e2f6651b" providerId="ADAL" clId="{5E354878-CB4B-4F9D-A502-8883F324B3EF}" dt="2022-04-25T16:28:01.878" v="4583" actId="242"/>
          <ac:spMkLst>
            <pc:docMk/>
            <pc:sldMk cId="1745609036" sldId="2076137854"/>
            <ac:spMk id="7" creationId="{93BAD997-D10D-4E54-BD34-3A400879A6F9}"/>
          </ac:spMkLst>
        </pc:spChg>
      </pc:sldChg>
      <pc:sldChg chg="del">
        <pc:chgData name="Jonathan Vella" userId="ff59d9e4-9df8-4ae6-90e3-b837e2f6651b" providerId="ADAL" clId="{5E354878-CB4B-4F9D-A502-8883F324B3EF}" dt="2022-04-07T08:24:47.288" v="4" actId="47"/>
        <pc:sldMkLst>
          <pc:docMk/>
          <pc:sldMk cId="1235584228" sldId="2076137855"/>
        </pc:sldMkLst>
      </pc:sldChg>
      <pc:sldChg chg="add">
        <pc:chgData name="Jonathan Vella" userId="ff59d9e4-9df8-4ae6-90e3-b837e2f6651b" providerId="ADAL" clId="{5E354878-CB4B-4F9D-A502-8883F324B3EF}" dt="2022-04-07T08:27:15.334" v="9"/>
        <pc:sldMkLst>
          <pc:docMk/>
          <pc:sldMk cId="2808553302" sldId="2134805708"/>
        </pc:sldMkLst>
      </pc:sldChg>
      <pc:sldChg chg="modSp mod">
        <pc:chgData name="Jonathan Vella" userId="ff59d9e4-9df8-4ae6-90e3-b837e2f6651b" providerId="ADAL" clId="{5E354878-CB4B-4F9D-A502-8883F324B3EF}" dt="2022-04-11T08:31:08.006" v="343" actId="404"/>
        <pc:sldMkLst>
          <pc:docMk/>
          <pc:sldMk cId="2098457255" sldId="2145705937"/>
        </pc:sldMkLst>
        <pc:spChg chg="mod">
          <ac:chgData name="Jonathan Vella" userId="ff59d9e4-9df8-4ae6-90e3-b837e2f6651b" providerId="ADAL" clId="{5E354878-CB4B-4F9D-A502-8883F324B3EF}" dt="2022-04-11T08:31:00.565" v="339" actId="1076"/>
          <ac:spMkLst>
            <pc:docMk/>
            <pc:sldMk cId="2098457255" sldId="2145705937"/>
            <ac:spMk id="16" creationId="{FBA75586-599E-45E1-A3E8-40E1594EB09E}"/>
          </ac:spMkLst>
        </pc:spChg>
        <pc:spChg chg="mod">
          <ac:chgData name="Jonathan Vella" userId="ff59d9e4-9df8-4ae6-90e3-b837e2f6651b" providerId="ADAL" clId="{5E354878-CB4B-4F9D-A502-8883F324B3EF}" dt="2022-04-11T08:31:00.565" v="339" actId="1076"/>
          <ac:spMkLst>
            <pc:docMk/>
            <pc:sldMk cId="2098457255" sldId="2145705937"/>
            <ac:spMk id="17" creationId="{6C888C00-E318-43FB-A80C-54A8EA42D2C3}"/>
          </ac:spMkLst>
        </pc:spChg>
        <pc:spChg chg="mod">
          <ac:chgData name="Jonathan Vella" userId="ff59d9e4-9df8-4ae6-90e3-b837e2f6651b" providerId="ADAL" clId="{5E354878-CB4B-4F9D-A502-8883F324B3EF}" dt="2022-04-11T08:31:08.006" v="343" actId="404"/>
          <ac:spMkLst>
            <pc:docMk/>
            <pc:sldMk cId="2098457255" sldId="2145705937"/>
            <ac:spMk id="27" creationId="{C3D7BFB0-2FEE-42AE-8273-78D9586CAA0C}"/>
          </ac:spMkLst>
        </pc:spChg>
        <pc:spChg chg="mod">
          <ac:chgData name="Jonathan Vella" userId="ff59d9e4-9df8-4ae6-90e3-b837e2f6651b" providerId="ADAL" clId="{5E354878-CB4B-4F9D-A502-8883F324B3EF}" dt="2022-04-11T08:31:00.565" v="339" actId="1076"/>
          <ac:spMkLst>
            <pc:docMk/>
            <pc:sldMk cId="2098457255" sldId="2145705937"/>
            <ac:spMk id="28" creationId="{341B4838-6E5C-4EEB-B099-9F71B699AA18}"/>
          </ac:spMkLst>
        </pc:spChg>
        <pc:spChg chg="mod">
          <ac:chgData name="Jonathan Vella" userId="ff59d9e4-9df8-4ae6-90e3-b837e2f6651b" providerId="ADAL" clId="{5E354878-CB4B-4F9D-A502-8883F324B3EF}" dt="2022-04-11T08:31:00.565" v="339" actId="1076"/>
          <ac:spMkLst>
            <pc:docMk/>
            <pc:sldMk cId="2098457255" sldId="2145705937"/>
            <ac:spMk id="29" creationId="{929BEB5C-D9F8-409E-828E-0F6BF9776A57}"/>
          </ac:spMkLst>
        </pc:spChg>
        <pc:picChg chg="mod">
          <ac:chgData name="Jonathan Vella" userId="ff59d9e4-9df8-4ae6-90e3-b837e2f6651b" providerId="ADAL" clId="{5E354878-CB4B-4F9D-A502-8883F324B3EF}" dt="2022-04-11T08:31:00.565" v="339" actId="1076"/>
          <ac:picMkLst>
            <pc:docMk/>
            <pc:sldMk cId="2098457255" sldId="2145705937"/>
            <ac:picMk id="5" creationId="{1A8C6AA9-9A84-4691-A3A4-D2040BAD10C5}"/>
          </ac:picMkLst>
        </pc:picChg>
        <pc:cxnChg chg="mod">
          <ac:chgData name="Jonathan Vella" userId="ff59d9e4-9df8-4ae6-90e3-b837e2f6651b" providerId="ADAL" clId="{5E354878-CB4B-4F9D-A502-8883F324B3EF}" dt="2022-04-11T08:31:00.565" v="339" actId="1076"/>
          <ac:cxnSpMkLst>
            <pc:docMk/>
            <pc:sldMk cId="2098457255" sldId="2145705937"/>
            <ac:cxnSpMk id="11" creationId="{86908EB6-CC44-43CE-A03C-0DE0E0446BDA}"/>
          </ac:cxnSpMkLst>
        </pc:cxnChg>
        <pc:cxnChg chg="mod">
          <ac:chgData name="Jonathan Vella" userId="ff59d9e4-9df8-4ae6-90e3-b837e2f6651b" providerId="ADAL" clId="{5E354878-CB4B-4F9D-A502-8883F324B3EF}" dt="2022-04-11T08:31:00.565" v="339" actId="1076"/>
          <ac:cxnSpMkLst>
            <pc:docMk/>
            <pc:sldMk cId="2098457255" sldId="2145705937"/>
            <ac:cxnSpMk id="19" creationId="{21E36A1E-80EB-45DF-A45E-3A3686BB803D}"/>
          </ac:cxnSpMkLst>
        </pc:cxnChg>
        <pc:cxnChg chg="mod">
          <ac:chgData name="Jonathan Vella" userId="ff59d9e4-9df8-4ae6-90e3-b837e2f6651b" providerId="ADAL" clId="{5E354878-CB4B-4F9D-A502-8883F324B3EF}" dt="2022-04-11T08:30:43.430" v="336" actId="1076"/>
          <ac:cxnSpMkLst>
            <pc:docMk/>
            <pc:sldMk cId="2098457255" sldId="2145705937"/>
            <ac:cxnSpMk id="22" creationId="{64B18E2D-5F41-4722-8964-B87F1B93A77A}"/>
          </ac:cxnSpMkLst>
        </pc:cxnChg>
      </pc:sldChg>
      <pc:sldChg chg="modSp mod">
        <pc:chgData name="Jonathan Vella" userId="ff59d9e4-9df8-4ae6-90e3-b837e2f6651b" providerId="ADAL" clId="{5E354878-CB4B-4F9D-A502-8883F324B3EF}" dt="2022-04-12T12:08:52.842" v="2318" actId="120"/>
        <pc:sldMkLst>
          <pc:docMk/>
          <pc:sldMk cId="2978473899" sldId="2145705947"/>
        </pc:sldMkLst>
        <pc:spChg chg="mod">
          <ac:chgData name="Jonathan Vella" userId="ff59d9e4-9df8-4ae6-90e3-b837e2f6651b" providerId="ADAL" clId="{5E354878-CB4B-4F9D-A502-8883F324B3EF}" dt="2022-04-12T12:08:52.842" v="2318" actId="120"/>
          <ac:spMkLst>
            <pc:docMk/>
            <pc:sldMk cId="2978473899" sldId="2145705947"/>
            <ac:spMk id="27" creationId="{C3D7BFB0-2FEE-42AE-8273-78D9586CAA0C}"/>
          </ac:spMkLst>
        </pc:spChg>
      </pc:sldChg>
      <pc:sldChg chg="delSp modSp mod ord modAnim">
        <pc:chgData name="Jonathan Vella" userId="ff59d9e4-9df8-4ae6-90e3-b837e2f6651b" providerId="ADAL" clId="{5E354878-CB4B-4F9D-A502-8883F324B3EF}" dt="2022-04-25T16:25:37.328" v="4503" actId="20577"/>
        <pc:sldMkLst>
          <pc:docMk/>
          <pc:sldMk cId="2773367745" sldId="2145705951"/>
        </pc:sldMkLst>
        <pc:spChg chg="mod">
          <ac:chgData name="Jonathan Vella" userId="ff59d9e4-9df8-4ae6-90e3-b837e2f6651b" providerId="ADAL" clId="{5E354878-CB4B-4F9D-A502-8883F324B3EF}" dt="2022-04-25T15:49:52.999" v="3993" actId="1076"/>
          <ac:spMkLst>
            <pc:docMk/>
            <pc:sldMk cId="2773367745" sldId="2145705951"/>
            <ac:spMk id="17" creationId="{6C888C00-E318-43FB-A80C-54A8EA42D2C3}"/>
          </ac:spMkLst>
        </pc:spChg>
        <pc:spChg chg="mod">
          <ac:chgData name="Jonathan Vella" userId="ff59d9e4-9df8-4ae6-90e3-b837e2f6651b" providerId="ADAL" clId="{5E354878-CB4B-4F9D-A502-8883F324B3EF}" dt="2022-04-25T16:25:37.328" v="4503" actId="20577"/>
          <ac:spMkLst>
            <pc:docMk/>
            <pc:sldMk cId="2773367745" sldId="2145705951"/>
            <ac:spMk id="27" creationId="{C3D7BFB0-2FEE-42AE-8273-78D9586CAA0C}"/>
          </ac:spMkLst>
        </pc:spChg>
        <pc:picChg chg="del">
          <ac:chgData name="Jonathan Vella" userId="ff59d9e4-9df8-4ae6-90e3-b837e2f6651b" providerId="ADAL" clId="{5E354878-CB4B-4F9D-A502-8883F324B3EF}" dt="2022-04-25T15:49:47.472" v="3991" actId="478"/>
          <ac:picMkLst>
            <pc:docMk/>
            <pc:sldMk cId="2773367745" sldId="2145705951"/>
            <ac:picMk id="14" creationId="{D65A6CF6-658D-44AB-9C55-4A63C131D131}"/>
          </ac:picMkLst>
        </pc:picChg>
        <pc:cxnChg chg="mod">
          <ac:chgData name="Jonathan Vella" userId="ff59d9e4-9df8-4ae6-90e3-b837e2f6651b" providerId="ADAL" clId="{5E354878-CB4B-4F9D-A502-8883F324B3EF}" dt="2022-04-25T15:12:06.647" v="3049" actId="1076"/>
          <ac:cxnSpMkLst>
            <pc:docMk/>
            <pc:sldMk cId="2773367745" sldId="2145705951"/>
            <ac:cxnSpMk id="22" creationId="{64B18E2D-5F41-4722-8964-B87F1B93A77A}"/>
          </ac:cxnSpMkLst>
        </pc:cxnChg>
      </pc:sldChg>
      <pc:sldChg chg="modSp del mod ord modAnim">
        <pc:chgData name="Jonathan Vella" userId="ff59d9e4-9df8-4ae6-90e3-b837e2f6651b" providerId="ADAL" clId="{5E354878-CB4B-4F9D-A502-8883F324B3EF}" dt="2022-04-25T15:25:06.703" v="3153" actId="47"/>
        <pc:sldMkLst>
          <pc:docMk/>
          <pc:sldMk cId="2592150698" sldId="2145705970"/>
        </pc:sldMkLst>
        <pc:spChg chg="mod">
          <ac:chgData name="Jonathan Vella" userId="ff59d9e4-9df8-4ae6-90e3-b837e2f6651b" providerId="ADAL" clId="{5E354878-CB4B-4F9D-A502-8883F324B3EF}" dt="2022-04-25T15:21:13.550" v="3143" actId="20577"/>
          <ac:spMkLst>
            <pc:docMk/>
            <pc:sldMk cId="2592150698" sldId="2145705970"/>
            <ac:spMk id="6" creationId="{DA82DD4E-DDB8-49CB-82D1-935E4AADC8F0}"/>
          </ac:spMkLst>
        </pc:spChg>
        <pc:spChg chg="mod">
          <ac:chgData name="Jonathan Vella" userId="ff59d9e4-9df8-4ae6-90e3-b837e2f6651b" providerId="ADAL" clId="{5E354878-CB4B-4F9D-A502-8883F324B3EF}" dt="2022-04-12T07:59:09.101" v="926" actId="6549"/>
          <ac:spMkLst>
            <pc:docMk/>
            <pc:sldMk cId="2592150698" sldId="2145705970"/>
            <ac:spMk id="15" creationId="{1E566100-ADBB-4258-8EC3-23BBEEC9793D}"/>
          </ac:spMkLst>
        </pc:spChg>
        <pc:cxnChg chg="mod">
          <ac:chgData name="Jonathan Vella" userId="ff59d9e4-9df8-4ae6-90e3-b837e2f6651b" providerId="ADAL" clId="{5E354878-CB4B-4F9D-A502-8883F324B3EF}" dt="2022-04-25T15:21:17.873" v="3144" actId="1076"/>
          <ac:cxnSpMkLst>
            <pc:docMk/>
            <pc:sldMk cId="2592150698" sldId="2145705970"/>
            <ac:cxnSpMk id="4" creationId="{D7C64E57-730E-4DCC-AD6D-D51197042F2F}"/>
          </ac:cxnSpMkLst>
        </pc:cxnChg>
      </pc:sldChg>
      <pc:sldChg chg="modSp mod modAnim">
        <pc:chgData name="Jonathan Vella" userId="ff59d9e4-9df8-4ae6-90e3-b837e2f6651b" providerId="ADAL" clId="{5E354878-CB4B-4F9D-A502-8883F324B3EF}" dt="2022-04-25T16:25:25.450" v="4498" actId="20577"/>
        <pc:sldMkLst>
          <pc:docMk/>
          <pc:sldMk cId="3466835861" sldId="2145705971"/>
        </pc:sldMkLst>
        <pc:spChg chg="mod">
          <ac:chgData name="Jonathan Vella" userId="ff59d9e4-9df8-4ae6-90e3-b837e2f6651b" providerId="ADAL" clId="{5E354878-CB4B-4F9D-A502-8883F324B3EF}" dt="2022-04-25T16:25:25.450" v="4498" actId="20577"/>
          <ac:spMkLst>
            <pc:docMk/>
            <pc:sldMk cId="3466835861" sldId="2145705971"/>
            <ac:spMk id="6" creationId="{DA82DD4E-DDB8-49CB-82D1-935E4AADC8F0}"/>
          </ac:spMkLst>
        </pc:spChg>
        <pc:spChg chg="mod">
          <ac:chgData name="Jonathan Vella" userId="ff59d9e4-9df8-4ae6-90e3-b837e2f6651b" providerId="ADAL" clId="{5E354878-CB4B-4F9D-A502-8883F324B3EF}" dt="2022-04-25T15:07:11.060" v="2967"/>
          <ac:spMkLst>
            <pc:docMk/>
            <pc:sldMk cId="3466835861" sldId="2145705971"/>
            <ac:spMk id="15" creationId="{1E566100-ADBB-4258-8EC3-23BBEEC9793D}"/>
          </ac:spMkLst>
        </pc:spChg>
        <pc:cxnChg chg="mod">
          <ac:chgData name="Jonathan Vella" userId="ff59d9e4-9df8-4ae6-90e3-b837e2f6651b" providerId="ADAL" clId="{5E354878-CB4B-4F9D-A502-8883F324B3EF}" dt="2022-04-25T15:07:21.824" v="2968" actId="1076"/>
          <ac:cxnSpMkLst>
            <pc:docMk/>
            <pc:sldMk cId="3466835861" sldId="2145705971"/>
            <ac:cxnSpMk id="4" creationId="{D7C64E57-730E-4DCC-AD6D-D51197042F2F}"/>
          </ac:cxnSpMkLst>
        </pc:cxnChg>
      </pc:sldChg>
      <pc:sldChg chg="modSp add mod ord modAnim">
        <pc:chgData name="Jonathan Vella" userId="ff59d9e4-9df8-4ae6-90e3-b837e2f6651b" providerId="ADAL" clId="{5E354878-CB4B-4F9D-A502-8883F324B3EF}" dt="2022-04-25T16:25:59.953" v="4536" actId="20577"/>
        <pc:sldMkLst>
          <pc:docMk/>
          <pc:sldMk cId="3155259312" sldId="2145705972"/>
        </pc:sldMkLst>
        <pc:spChg chg="mod">
          <ac:chgData name="Jonathan Vella" userId="ff59d9e4-9df8-4ae6-90e3-b837e2f6651b" providerId="ADAL" clId="{5E354878-CB4B-4F9D-A502-8883F324B3EF}" dt="2022-04-25T16:25:59.953" v="4536" actId="20577"/>
          <ac:spMkLst>
            <pc:docMk/>
            <pc:sldMk cId="3155259312" sldId="2145705972"/>
            <ac:spMk id="6" creationId="{DA82DD4E-DDB8-49CB-82D1-935E4AADC8F0}"/>
          </ac:spMkLst>
        </pc:spChg>
        <pc:spChg chg="mod">
          <ac:chgData name="Jonathan Vella" userId="ff59d9e4-9df8-4ae6-90e3-b837e2f6651b" providerId="ADAL" clId="{5E354878-CB4B-4F9D-A502-8883F324B3EF}" dt="2022-04-12T11:43:44.621" v="1708" actId="20577"/>
          <ac:spMkLst>
            <pc:docMk/>
            <pc:sldMk cId="3155259312" sldId="2145705972"/>
            <ac:spMk id="15" creationId="{1E566100-ADBB-4258-8EC3-23BBEEC9793D}"/>
          </ac:spMkLst>
        </pc:spChg>
        <pc:cxnChg chg="mod">
          <ac:chgData name="Jonathan Vella" userId="ff59d9e4-9df8-4ae6-90e3-b837e2f6651b" providerId="ADAL" clId="{5E354878-CB4B-4F9D-A502-8883F324B3EF}" dt="2022-04-25T15:19:25.661" v="3102" actId="1076"/>
          <ac:cxnSpMkLst>
            <pc:docMk/>
            <pc:sldMk cId="3155259312" sldId="2145705972"/>
            <ac:cxnSpMk id="4" creationId="{D7C64E57-730E-4DCC-AD6D-D51197042F2F}"/>
          </ac:cxnSpMkLst>
        </pc:cxnChg>
      </pc:sldChg>
      <pc:sldChg chg="modSp add mod modAnim">
        <pc:chgData name="Jonathan Vella" userId="ff59d9e4-9df8-4ae6-90e3-b837e2f6651b" providerId="ADAL" clId="{5E354878-CB4B-4F9D-A502-8883F324B3EF}" dt="2022-04-25T16:26:06.575" v="4537"/>
        <pc:sldMkLst>
          <pc:docMk/>
          <pc:sldMk cId="4264489091" sldId="2145705973"/>
        </pc:sldMkLst>
        <pc:spChg chg="mod">
          <ac:chgData name="Jonathan Vella" userId="ff59d9e4-9df8-4ae6-90e3-b837e2f6651b" providerId="ADAL" clId="{5E354878-CB4B-4F9D-A502-8883F324B3EF}" dt="2022-04-25T16:26:06.575" v="4537"/>
          <ac:spMkLst>
            <pc:docMk/>
            <pc:sldMk cId="4264489091" sldId="2145705973"/>
            <ac:spMk id="6" creationId="{DA82DD4E-DDB8-49CB-82D1-935E4AADC8F0}"/>
          </ac:spMkLst>
        </pc:spChg>
        <pc:spChg chg="mod">
          <ac:chgData name="Jonathan Vella" userId="ff59d9e4-9df8-4ae6-90e3-b837e2f6651b" providerId="ADAL" clId="{5E354878-CB4B-4F9D-A502-8883F324B3EF}" dt="2022-04-12T11:47:53.725" v="1886" actId="20577"/>
          <ac:spMkLst>
            <pc:docMk/>
            <pc:sldMk cId="4264489091" sldId="2145705973"/>
            <ac:spMk id="15" creationId="{1E566100-ADBB-4258-8EC3-23BBEEC9793D}"/>
          </ac:spMkLst>
        </pc:spChg>
        <pc:cxnChg chg="mod">
          <ac:chgData name="Jonathan Vella" userId="ff59d9e4-9df8-4ae6-90e3-b837e2f6651b" providerId="ADAL" clId="{5E354878-CB4B-4F9D-A502-8883F324B3EF}" dt="2022-04-25T15:19:31.595" v="3106" actId="1076"/>
          <ac:cxnSpMkLst>
            <pc:docMk/>
            <pc:sldMk cId="4264489091" sldId="2145705973"/>
            <ac:cxnSpMk id="4" creationId="{D7C64E57-730E-4DCC-AD6D-D51197042F2F}"/>
          </ac:cxnSpMkLst>
        </pc:cxnChg>
      </pc:sldChg>
      <pc:sldChg chg="new del">
        <pc:chgData name="Jonathan Vella" userId="ff59d9e4-9df8-4ae6-90e3-b837e2f6651b" providerId="ADAL" clId="{5E354878-CB4B-4F9D-A502-8883F324B3EF}" dt="2022-04-12T11:52:14.324" v="1896" actId="47"/>
        <pc:sldMkLst>
          <pc:docMk/>
          <pc:sldMk cId="2159640032" sldId="2145705974"/>
        </pc:sldMkLst>
      </pc:sldChg>
      <pc:sldChg chg="addSp delSp modSp mod addAnim delAnim modAnim">
        <pc:chgData name="Jonathan Vella" userId="ff59d9e4-9df8-4ae6-90e3-b837e2f6651b" providerId="ADAL" clId="{5E354878-CB4B-4F9D-A502-8883F324B3EF}" dt="2022-04-25T15:38:21.950" v="3519" actId="20577"/>
        <pc:sldMkLst>
          <pc:docMk/>
          <pc:sldMk cId="3122214548" sldId="2145705974"/>
        </pc:sldMkLst>
        <pc:spChg chg="add del mod">
          <ac:chgData name="Jonathan Vella" userId="ff59d9e4-9df8-4ae6-90e3-b837e2f6651b" providerId="ADAL" clId="{5E354878-CB4B-4F9D-A502-8883F324B3EF}" dt="2022-04-25T15:38:21.950" v="3519" actId="20577"/>
          <ac:spMkLst>
            <pc:docMk/>
            <pc:sldMk cId="3122214548" sldId="2145705974"/>
            <ac:spMk id="17" creationId="{6C888C00-E318-43FB-A80C-54A8EA42D2C3}"/>
          </ac:spMkLst>
        </pc:spChg>
        <pc:spChg chg="mod">
          <ac:chgData name="Jonathan Vella" userId="ff59d9e4-9df8-4ae6-90e3-b837e2f6651b" providerId="ADAL" clId="{5E354878-CB4B-4F9D-A502-8883F324B3EF}" dt="2022-04-25T15:31:15.300" v="3223" actId="20577"/>
          <ac:spMkLst>
            <pc:docMk/>
            <pc:sldMk cId="3122214548" sldId="2145705974"/>
            <ac:spMk id="27" creationId="{C3D7BFB0-2FEE-42AE-8273-78D9586CAA0C}"/>
          </ac:spMkLst>
        </pc:spChg>
        <pc:cxnChg chg="mod">
          <ac:chgData name="Jonathan Vella" userId="ff59d9e4-9df8-4ae6-90e3-b837e2f6651b" providerId="ADAL" clId="{5E354878-CB4B-4F9D-A502-8883F324B3EF}" dt="2022-04-25T15:34:41.422" v="3369" actId="1076"/>
          <ac:cxnSpMkLst>
            <pc:docMk/>
            <pc:sldMk cId="3122214548" sldId="2145705974"/>
            <ac:cxnSpMk id="22" creationId="{64B18E2D-5F41-4722-8964-B87F1B93A77A}"/>
          </ac:cxnSpMkLst>
        </pc:cxnChg>
      </pc:sldChg>
      <pc:sldChg chg="modSp add mod ord">
        <pc:chgData name="Jonathan Vella" userId="ff59d9e4-9df8-4ae6-90e3-b837e2f6651b" providerId="ADAL" clId="{5E354878-CB4B-4F9D-A502-8883F324B3EF}" dt="2022-04-25T15:48:17.705" v="3939" actId="20577"/>
        <pc:sldMkLst>
          <pc:docMk/>
          <pc:sldMk cId="991166745" sldId="2145705975"/>
        </pc:sldMkLst>
        <pc:spChg chg="mod">
          <ac:chgData name="Jonathan Vella" userId="ff59d9e4-9df8-4ae6-90e3-b837e2f6651b" providerId="ADAL" clId="{5E354878-CB4B-4F9D-A502-8883F324B3EF}" dt="2022-04-25T15:48:17.705" v="3939" actId="20577"/>
          <ac:spMkLst>
            <pc:docMk/>
            <pc:sldMk cId="991166745" sldId="2145705975"/>
            <ac:spMk id="17" creationId="{6C888C00-E318-43FB-A80C-54A8EA42D2C3}"/>
          </ac:spMkLst>
        </pc:spChg>
        <pc:spChg chg="mod">
          <ac:chgData name="Jonathan Vella" userId="ff59d9e4-9df8-4ae6-90e3-b837e2f6651b" providerId="ADAL" clId="{5E354878-CB4B-4F9D-A502-8883F324B3EF}" dt="2022-04-25T15:40:21.066" v="3666" actId="20577"/>
          <ac:spMkLst>
            <pc:docMk/>
            <pc:sldMk cId="991166745" sldId="2145705975"/>
            <ac:spMk id="27" creationId="{C3D7BFB0-2FEE-42AE-8273-78D9586CAA0C}"/>
          </ac:spMkLst>
        </pc:spChg>
        <pc:cxnChg chg="mod">
          <ac:chgData name="Jonathan Vella" userId="ff59d9e4-9df8-4ae6-90e3-b837e2f6651b" providerId="ADAL" clId="{5E354878-CB4B-4F9D-A502-8883F324B3EF}" dt="2022-04-25T15:41:17.063" v="3667" actId="1076"/>
          <ac:cxnSpMkLst>
            <pc:docMk/>
            <pc:sldMk cId="991166745" sldId="2145705975"/>
            <ac:cxnSpMk id="22" creationId="{64B18E2D-5F41-4722-8964-B87F1B93A77A}"/>
          </ac:cxnSpMkLst>
        </pc:cxnChg>
      </pc:sldChg>
      <pc:sldChg chg="add del">
        <pc:chgData name="Jonathan Vella" userId="ff59d9e4-9df8-4ae6-90e3-b837e2f6651b" providerId="ADAL" clId="{5E354878-CB4B-4F9D-A502-8883F324B3EF}" dt="2022-04-12T12:00:48.915" v="2119" actId="2696"/>
        <pc:sldMkLst>
          <pc:docMk/>
          <pc:sldMk cId="1708951997" sldId="2145705975"/>
        </pc:sldMkLst>
      </pc:sldChg>
      <pc:sldChg chg="delSp modSp mod ord modAnim">
        <pc:chgData name="Jonathan Vella" userId="ff59d9e4-9df8-4ae6-90e3-b837e2f6651b" providerId="ADAL" clId="{5E354878-CB4B-4F9D-A502-8883F324B3EF}" dt="2022-04-25T15:56:29.017" v="4091"/>
        <pc:sldMkLst>
          <pc:docMk/>
          <pc:sldMk cId="1456434766" sldId="2145705976"/>
        </pc:sldMkLst>
        <pc:spChg chg="mod">
          <ac:chgData name="Jonathan Vella" userId="ff59d9e4-9df8-4ae6-90e3-b837e2f6651b" providerId="ADAL" clId="{5E354878-CB4B-4F9D-A502-8883F324B3EF}" dt="2022-04-25T15:55:52.677" v="4084" actId="6549"/>
          <ac:spMkLst>
            <pc:docMk/>
            <pc:sldMk cId="1456434766" sldId="2145705976"/>
            <ac:spMk id="17" creationId="{6C888C00-E318-43FB-A80C-54A8EA42D2C3}"/>
          </ac:spMkLst>
        </pc:spChg>
        <pc:spChg chg="mod">
          <ac:chgData name="Jonathan Vella" userId="ff59d9e4-9df8-4ae6-90e3-b837e2f6651b" providerId="ADAL" clId="{5E354878-CB4B-4F9D-A502-8883F324B3EF}" dt="2022-04-25T15:55:41.159" v="4080" actId="20577"/>
          <ac:spMkLst>
            <pc:docMk/>
            <pc:sldMk cId="1456434766" sldId="2145705976"/>
            <ac:spMk id="27" creationId="{C3D7BFB0-2FEE-42AE-8273-78D9586CAA0C}"/>
          </ac:spMkLst>
        </pc:spChg>
        <pc:picChg chg="del">
          <ac:chgData name="Jonathan Vella" userId="ff59d9e4-9df8-4ae6-90e3-b837e2f6651b" providerId="ADAL" clId="{5E354878-CB4B-4F9D-A502-8883F324B3EF}" dt="2022-04-12T12:11:48.209" v="2321" actId="478"/>
          <ac:picMkLst>
            <pc:docMk/>
            <pc:sldMk cId="1456434766" sldId="2145705976"/>
            <ac:picMk id="14" creationId="{D65A6CF6-658D-44AB-9C55-4A63C131D131}"/>
          </ac:picMkLst>
        </pc:picChg>
        <pc:cxnChg chg="mod">
          <ac:chgData name="Jonathan Vella" userId="ff59d9e4-9df8-4ae6-90e3-b837e2f6651b" providerId="ADAL" clId="{5E354878-CB4B-4F9D-A502-8883F324B3EF}" dt="2022-04-25T15:53:00.510" v="4034" actId="1076"/>
          <ac:cxnSpMkLst>
            <pc:docMk/>
            <pc:sldMk cId="1456434766" sldId="2145705976"/>
            <ac:cxnSpMk id="22" creationId="{64B18E2D-5F41-4722-8964-B87F1B93A77A}"/>
          </ac:cxnSpMkLst>
        </pc:cxnChg>
      </pc:sldChg>
      <pc:sldChg chg="del">
        <pc:chgData name="Jonathan Vella" userId="ff59d9e4-9df8-4ae6-90e3-b837e2f6651b" providerId="ADAL" clId="{5E354878-CB4B-4F9D-A502-8883F324B3EF}" dt="2022-04-12T12:07:35.695" v="2313" actId="47"/>
        <pc:sldMkLst>
          <pc:docMk/>
          <pc:sldMk cId="2817371134" sldId="2145705976"/>
        </pc:sldMkLst>
      </pc:sldChg>
      <pc:sldChg chg="addSp delSp modSp add mod delAnim">
        <pc:chgData name="Jonathan Vella" userId="ff59d9e4-9df8-4ae6-90e3-b837e2f6651b" providerId="ADAL" clId="{5E354878-CB4B-4F9D-A502-8883F324B3EF}" dt="2022-04-25T15:26:01.739" v="3160" actId="1076"/>
        <pc:sldMkLst>
          <pc:docMk/>
          <pc:sldMk cId="2789173668" sldId="2145705977"/>
        </pc:sldMkLst>
        <pc:spChg chg="add del mod">
          <ac:chgData name="Jonathan Vella" userId="ff59d9e4-9df8-4ae6-90e3-b837e2f6651b" providerId="ADAL" clId="{5E354878-CB4B-4F9D-A502-8883F324B3EF}" dt="2022-04-25T15:23:05.724" v="3147"/>
          <ac:spMkLst>
            <pc:docMk/>
            <pc:sldMk cId="2789173668" sldId="2145705977"/>
            <ac:spMk id="3" creationId="{D47917F8-A7E5-E788-C1F5-9B590D874A6C}"/>
          </ac:spMkLst>
        </pc:spChg>
        <pc:spChg chg="mod">
          <ac:chgData name="Jonathan Vella" userId="ff59d9e4-9df8-4ae6-90e3-b837e2f6651b" providerId="ADAL" clId="{5E354878-CB4B-4F9D-A502-8883F324B3EF}" dt="2022-04-25T15:25:43.677" v="3156" actId="6549"/>
          <ac:spMkLst>
            <pc:docMk/>
            <pc:sldMk cId="2789173668" sldId="2145705977"/>
            <ac:spMk id="6" creationId="{DA82DD4E-DDB8-49CB-82D1-935E4AADC8F0}"/>
          </ac:spMkLst>
        </pc:spChg>
        <pc:spChg chg="del">
          <ac:chgData name="Jonathan Vella" userId="ff59d9e4-9df8-4ae6-90e3-b837e2f6651b" providerId="ADAL" clId="{5E354878-CB4B-4F9D-A502-8883F324B3EF}" dt="2022-04-25T15:23:03.739" v="3146" actId="478"/>
          <ac:spMkLst>
            <pc:docMk/>
            <pc:sldMk cId="2789173668" sldId="2145705977"/>
            <ac:spMk id="15" creationId="{1E566100-ADBB-4258-8EC3-23BBEEC9793D}"/>
          </ac:spMkLst>
        </pc:spChg>
        <pc:picChg chg="add mod">
          <ac:chgData name="Jonathan Vella" userId="ff59d9e4-9df8-4ae6-90e3-b837e2f6651b" providerId="ADAL" clId="{5E354878-CB4B-4F9D-A502-8883F324B3EF}" dt="2022-04-25T15:26:01.739" v="3160" actId="1076"/>
          <ac:picMkLst>
            <pc:docMk/>
            <pc:sldMk cId="2789173668" sldId="2145705977"/>
            <ac:picMk id="2050" creationId="{C5B217F9-5135-77C3-97A3-0DBC5DC25B47}"/>
          </ac:picMkLst>
        </pc:picChg>
      </pc:sldChg>
      <pc:sldChg chg="modSp add mod">
        <pc:chgData name="Jonathan Vella" userId="ff59d9e4-9df8-4ae6-90e3-b837e2f6651b" providerId="ADAL" clId="{5E354878-CB4B-4F9D-A502-8883F324B3EF}" dt="2022-04-25T16:26:22.657" v="4570" actId="20577"/>
        <pc:sldMkLst>
          <pc:docMk/>
          <pc:sldMk cId="1578671869" sldId="2145705978"/>
        </pc:sldMkLst>
        <pc:spChg chg="mod">
          <ac:chgData name="Jonathan Vella" userId="ff59d9e4-9df8-4ae6-90e3-b837e2f6651b" providerId="ADAL" clId="{5E354878-CB4B-4F9D-A502-8883F324B3EF}" dt="2022-04-25T16:26:22.657" v="4570" actId="20577"/>
          <ac:spMkLst>
            <pc:docMk/>
            <pc:sldMk cId="1578671869" sldId="2145705978"/>
            <ac:spMk id="6" creationId="{DA82DD4E-DDB8-49CB-82D1-935E4AADC8F0}"/>
          </ac:spMkLst>
        </pc:spChg>
      </pc:sldChg>
      <pc:sldChg chg="addSp delSp modSp add mod">
        <pc:chgData name="Jonathan Vella" userId="ff59d9e4-9df8-4ae6-90e3-b837e2f6651b" providerId="ADAL" clId="{5E354878-CB4B-4F9D-A502-8883F324B3EF}" dt="2022-04-25T15:28:20.469" v="3181" actId="1076"/>
        <pc:sldMkLst>
          <pc:docMk/>
          <pc:sldMk cId="3454076302" sldId="2145705979"/>
        </pc:sldMkLst>
        <pc:spChg chg="add del mod">
          <ac:chgData name="Jonathan Vella" userId="ff59d9e4-9df8-4ae6-90e3-b837e2f6651b" providerId="ADAL" clId="{5E354878-CB4B-4F9D-A502-8883F324B3EF}" dt="2022-04-25T15:26:32.912" v="3166"/>
          <ac:spMkLst>
            <pc:docMk/>
            <pc:sldMk cId="3454076302" sldId="2145705979"/>
            <ac:spMk id="2" creationId="{D14D71F0-A477-6790-8BB9-FC0557BBF58A}"/>
          </ac:spMkLst>
        </pc:spChg>
        <pc:spChg chg="add mod">
          <ac:chgData name="Jonathan Vella" userId="ff59d9e4-9df8-4ae6-90e3-b837e2f6651b" providerId="ADAL" clId="{5E354878-CB4B-4F9D-A502-8883F324B3EF}" dt="2022-04-25T15:28:20.469" v="3181" actId="1076"/>
          <ac:spMkLst>
            <pc:docMk/>
            <pc:sldMk cId="3454076302" sldId="2145705979"/>
            <ac:spMk id="9" creationId="{8FB1F0F2-0AC7-47B9-FE32-8F62E27CA847}"/>
          </ac:spMkLst>
        </pc:spChg>
        <pc:picChg chg="del">
          <ac:chgData name="Jonathan Vella" userId="ff59d9e4-9df8-4ae6-90e3-b837e2f6651b" providerId="ADAL" clId="{5E354878-CB4B-4F9D-A502-8883F324B3EF}" dt="2022-04-25T15:26:10.254" v="3162" actId="478"/>
          <ac:picMkLst>
            <pc:docMk/>
            <pc:sldMk cId="3454076302" sldId="2145705979"/>
            <ac:picMk id="2050" creationId="{C5B217F9-5135-77C3-97A3-0DBC5DC25B47}"/>
          </ac:picMkLst>
        </pc:picChg>
        <pc:picChg chg="add del mod">
          <ac:chgData name="Jonathan Vella" userId="ff59d9e4-9df8-4ae6-90e3-b837e2f6651b" providerId="ADAL" clId="{5E354878-CB4B-4F9D-A502-8883F324B3EF}" dt="2022-04-25T15:26:30.779" v="3165" actId="478"/>
          <ac:picMkLst>
            <pc:docMk/>
            <pc:sldMk cId="3454076302" sldId="2145705979"/>
            <ac:picMk id="3074" creationId="{B8589E60-5B3B-C39E-FD65-B089890EC1AD}"/>
          </ac:picMkLst>
        </pc:picChg>
        <pc:picChg chg="add mod">
          <ac:chgData name="Jonathan Vella" userId="ff59d9e4-9df8-4ae6-90e3-b837e2f6651b" providerId="ADAL" clId="{5E354878-CB4B-4F9D-A502-8883F324B3EF}" dt="2022-04-25T15:26:37.698" v="3168" actId="1076"/>
          <ac:picMkLst>
            <pc:docMk/>
            <pc:sldMk cId="3454076302" sldId="2145705979"/>
            <ac:picMk id="3076" creationId="{E2CD0A1F-6EAF-B627-27DE-966726EADEAB}"/>
          </ac:picMkLst>
        </pc:picChg>
      </pc:sldChg>
      <pc:sldChg chg="addSp delSp modSp add mod">
        <pc:chgData name="Jonathan Vella" userId="ff59d9e4-9df8-4ae6-90e3-b837e2f6651b" providerId="ADAL" clId="{5E354878-CB4B-4F9D-A502-8883F324B3EF}" dt="2022-04-25T15:39:35.427" v="3587" actId="20577"/>
        <pc:sldMkLst>
          <pc:docMk/>
          <pc:sldMk cId="3078967280" sldId="2145705980"/>
        </pc:sldMkLst>
        <pc:spChg chg="del">
          <ac:chgData name="Jonathan Vella" userId="ff59d9e4-9df8-4ae6-90e3-b837e2f6651b" providerId="ADAL" clId="{5E354878-CB4B-4F9D-A502-8883F324B3EF}" dt="2022-04-25T15:39:06.482" v="3521" actId="478"/>
          <ac:spMkLst>
            <pc:docMk/>
            <pc:sldMk cId="3078967280" sldId="2145705980"/>
            <ac:spMk id="17" creationId="{6C888C00-E318-43FB-A80C-54A8EA42D2C3}"/>
          </ac:spMkLst>
        </pc:spChg>
        <pc:spChg chg="mod">
          <ac:chgData name="Jonathan Vella" userId="ff59d9e4-9df8-4ae6-90e3-b837e2f6651b" providerId="ADAL" clId="{5E354878-CB4B-4F9D-A502-8883F324B3EF}" dt="2022-04-25T15:39:35.427" v="3587" actId="20577"/>
          <ac:spMkLst>
            <pc:docMk/>
            <pc:sldMk cId="3078967280" sldId="2145705980"/>
            <ac:spMk id="27" creationId="{C3D7BFB0-2FEE-42AE-8273-78D9586CAA0C}"/>
          </ac:spMkLst>
        </pc:spChg>
        <pc:picChg chg="add mod">
          <ac:chgData name="Jonathan Vella" userId="ff59d9e4-9df8-4ae6-90e3-b837e2f6651b" providerId="ADAL" clId="{5E354878-CB4B-4F9D-A502-8883F324B3EF}" dt="2022-04-25T15:39:14.267" v="3524" actId="1076"/>
          <ac:picMkLst>
            <pc:docMk/>
            <pc:sldMk cId="3078967280" sldId="2145705980"/>
            <ac:picMk id="4098" creationId="{6A3E1353-E245-6647-C715-FDC6695EC625}"/>
          </ac:picMkLst>
        </pc:picChg>
      </pc:sldChg>
      <pc:sldChg chg="addSp delSp modSp add mod ord">
        <pc:chgData name="Jonathan Vella" userId="ff59d9e4-9df8-4ae6-90e3-b837e2f6651b" providerId="ADAL" clId="{5E354878-CB4B-4F9D-A502-8883F324B3EF}" dt="2022-04-25T16:27:56.958" v="4582" actId="1076"/>
        <pc:sldMkLst>
          <pc:docMk/>
          <pc:sldMk cId="3426613854" sldId="2145705981"/>
        </pc:sldMkLst>
        <pc:spChg chg="del">
          <ac:chgData name="Jonathan Vella" userId="ff59d9e4-9df8-4ae6-90e3-b837e2f6651b" providerId="ADAL" clId="{5E354878-CB4B-4F9D-A502-8883F324B3EF}" dt="2022-04-25T16:00:15.526" v="4125" actId="478"/>
          <ac:spMkLst>
            <pc:docMk/>
            <pc:sldMk cId="3426613854" sldId="2145705981"/>
            <ac:spMk id="3" creationId="{594C5622-1D57-4905-A461-8BB27722AFED}"/>
          </ac:spMkLst>
        </pc:spChg>
        <pc:spChg chg="del">
          <ac:chgData name="Jonathan Vella" userId="ff59d9e4-9df8-4ae6-90e3-b837e2f6651b" providerId="ADAL" clId="{5E354878-CB4B-4F9D-A502-8883F324B3EF}" dt="2022-04-25T16:00:11.902" v="4123" actId="478"/>
          <ac:spMkLst>
            <pc:docMk/>
            <pc:sldMk cId="3426613854" sldId="2145705981"/>
            <ac:spMk id="4" creationId="{8B24BBB8-FEB2-4E36-9837-77AE763F8EF8}"/>
          </ac:spMkLst>
        </pc:spChg>
        <pc:spChg chg="mod">
          <ac:chgData name="Jonathan Vella" userId="ff59d9e4-9df8-4ae6-90e3-b837e2f6651b" providerId="ADAL" clId="{5E354878-CB4B-4F9D-A502-8883F324B3EF}" dt="2022-04-25T16:18:16.931" v="4230" actId="21"/>
          <ac:spMkLst>
            <pc:docMk/>
            <pc:sldMk cId="3426613854" sldId="2145705981"/>
            <ac:spMk id="6" creationId="{04FD033E-A3FA-41F2-B95F-D74A0F0A8549}"/>
          </ac:spMkLst>
        </pc:spChg>
        <pc:spChg chg="mod">
          <ac:chgData name="Jonathan Vella" userId="ff59d9e4-9df8-4ae6-90e3-b837e2f6651b" providerId="ADAL" clId="{5E354878-CB4B-4F9D-A502-8883F324B3EF}" dt="2022-04-25T16:27:56.958" v="4582" actId="1076"/>
          <ac:spMkLst>
            <pc:docMk/>
            <pc:sldMk cId="3426613854" sldId="2145705981"/>
            <ac:spMk id="7" creationId="{93BAD997-D10D-4E54-BD34-3A400879A6F9}"/>
          </ac:spMkLst>
        </pc:spChg>
        <pc:spChg chg="add del">
          <ac:chgData name="Jonathan Vella" userId="ff59d9e4-9df8-4ae6-90e3-b837e2f6651b" providerId="ADAL" clId="{5E354878-CB4B-4F9D-A502-8883F324B3EF}" dt="2022-04-25T16:00:28.985" v="4128"/>
          <ac:spMkLst>
            <pc:docMk/>
            <pc:sldMk cId="3426613854" sldId="2145705981"/>
            <ac:spMk id="9" creationId="{24521481-5CD6-F977-35ED-3A3E4A6A0C7C}"/>
          </ac:spMkLst>
        </pc:spChg>
        <pc:picChg chg="add mod">
          <ac:chgData name="Jonathan Vella" userId="ff59d9e4-9df8-4ae6-90e3-b837e2f6651b" providerId="ADAL" clId="{5E354878-CB4B-4F9D-A502-8883F324B3EF}" dt="2022-04-25T16:01:31.821" v="4139" actId="1076"/>
          <ac:picMkLst>
            <pc:docMk/>
            <pc:sldMk cId="3426613854" sldId="2145705981"/>
            <ac:picMk id="11" creationId="{0B56B43A-9AE2-93F0-787B-4D0F3097644D}"/>
          </ac:picMkLst>
        </pc:picChg>
        <pc:picChg chg="del">
          <ac:chgData name="Jonathan Vella" userId="ff59d9e4-9df8-4ae6-90e3-b837e2f6651b" providerId="ADAL" clId="{5E354878-CB4B-4F9D-A502-8883F324B3EF}" dt="2022-04-25T16:00:13.941" v="4124" actId="478"/>
          <ac:picMkLst>
            <pc:docMk/>
            <pc:sldMk cId="3426613854" sldId="2145705981"/>
            <ac:picMk id="10242" creationId="{EB8CABBA-279A-4859-B956-9E9B0BD8D445}"/>
          </ac:picMkLst>
        </pc:picChg>
      </pc:sldChg>
      <pc:sldChg chg="add del">
        <pc:chgData name="Jonathan Vella" userId="ff59d9e4-9df8-4ae6-90e3-b837e2f6651b" providerId="ADAL" clId="{5E354878-CB4B-4F9D-A502-8883F324B3EF}" dt="2022-04-25T15:59:21.588" v="4105" actId="2890"/>
        <pc:sldMkLst>
          <pc:docMk/>
          <pc:sldMk cId="3438971865" sldId="2145705981"/>
        </pc:sldMkLst>
      </pc:sldChg>
      <pc:sldChg chg="modSp add mod ord">
        <pc:chgData name="Jonathan Vella" userId="ff59d9e4-9df8-4ae6-90e3-b837e2f6651b" providerId="ADAL" clId="{5E354878-CB4B-4F9D-A502-8883F324B3EF}" dt="2022-04-25T16:19:42.306" v="4333" actId="20577"/>
        <pc:sldMkLst>
          <pc:docMk/>
          <pc:sldMk cId="3221375824" sldId="2145705982"/>
        </pc:sldMkLst>
        <pc:spChg chg="mod">
          <ac:chgData name="Jonathan Vella" userId="ff59d9e4-9df8-4ae6-90e3-b837e2f6651b" providerId="ADAL" clId="{5E354878-CB4B-4F9D-A502-8883F324B3EF}" dt="2022-04-25T16:18:57.763" v="4241" actId="5793"/>
          <ac:spMkLst>
            <pc:docMk/>
            <pc:sldMk cId="3221375824" sldId="2145705982"/>
            <ac:spMk id="17" creationId="{6C888C00-E318-43FB-A80C-54A8EA42D2C3}"/>
          </ac:spMkLst>
        </pc:spChg>
        <pc:spChg chg="mod">
          <ac:chgData name="Jonathan Vella" userId="ff59d9e4-9df8-4ae6-90e3-b837e2f6651b" providerId="ADAL" clId="{5E354878-CB4B-4F9D-A502-8883F324B3EF}" dt="2022-04-25T16:19:42.306" v="4333" actId="20577"/>
          <ac:spMkLst>
            <pc:docMk/>
            <pc:sldMk cId="3221375824" sldId="2145705982"/>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4011017836" sldId="2145705982"/>
        </pc:sldMkLst>
      </pc:sldChg>
      <pc:sldChg chg="new del">
        <pc:chgData name="Jonathan Vella" userId="ff59d9e4-9df8-4ae6-90e3-b837e2f6651b" providerId="ADAL" clId="{5E354878-CB4B-4F9D-A502-8883F324B3EF}" dt="2022-04-25T16:01:39.622" v="4141" actId="47"/>
        <pc:sldMkLst>
          <pc:docMk/>
          <pc:sldMk cId="4292006215" sldId="2145705982"/>
        </pc:sldMkLst>
      </pc:sldChg>
      <pc:sldChg chg="modSp add mod">
        <pc:chgData name="Jonathan Vella" userId="ff59d9e4-9df8-4ae6-90e3-b837e2f6651b" providerId="ADAL" clId="{5E354878-CB4B-4F9D-A502-8883F324B3EF}" dt="2022-04-25T16:17:05.381" v="4226" actId="115"/>
        <pc:sldMkLst>
          <pc:docMk/>
          <pc:sldMk cId="3846288735" sldId="2145705983"/>
        </pc:sldMkLst>
        <pc:spChg chg="mod">
          <ac:chgData name="Jonathan Vella" userId="ff59d9e4-9df8-4ae6-90e3-b837e2f6651b" providerId="ADAL" clId="{5E354878-CB4B-4F9D-A502-8883F324B3EF}" dt="2022-04-25T16:17:05.381" v="4226" actId="115"/>
          <ac:spMkLst>
            <pc:docMk/>
            <pc:sldMk cId="3846288735" sldId="2145705983"/>
            <ac:spMk id="17" creationId="{6C888C00-E318-43FB-A80C-54A8EA42D2C3}"/>
          </ac:spMkLst>
        </pc:spChg>
        <pc:spChg chg="mod">
          <ac:chgData name="Jonathan Vella" userId="ff59d9e4-9df8-4ae6-90e3-b837e2f6651b" providerId="ADAL" clId="{5E354878-CB4B-4F9D-A502-8883F324B3EF}" dt="2022-04-25T16:04:58.129" v="4177" actId="6549"/>
          <ac:spMkLst>
            <pc:docMk/>
            <pc:sldMk cId="3846288735" sldId="2145705983"/>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3854677261" sldId="2145705983"/>
        </pc:sldMkLst>
      </pc:sldChg>
      <pc:sldChg chg="add ord">
        <pc:chgData name="Jonathan Vella" userId="ff59d9e4-9df8-4ae6-90e3-b837e2f6651b" providerId="ADAL" clId="{5E354878-CB4B-4F9D-A502-8883F324B3EF}" dt="2022-04-25T16:18:23.938" v="4233"/>
        <pc:sldMkLst>
          <pc:docMk/>
          <pc:sldMk cId="2663082499" sldId="2145705984"/>
        </pc:sldMkLst>
      </pc:sldChg>
      <pc:sldChg chg="add del replId">
        <pc:chgData name="Jonathan Vella" userId="ff59d9e4-9df8-4ae6-90e3-b837e2f6651b" providerId="ADAL" clId="{5E354878-CB4B-4F9D-A502-8883F324B3EF}" dt="2022-04-25T15:59:21.588" v="4105" actId="2890"/>
        <pc:sldMkLst>
          <pc:docMk/>
          <pc:sldMk cId="3942773328" sldId="2145705984"/>
        </pc:sldMkLst>
      </pc:sldChg>
      <pc:sldChg chg="add del">
        <pc:chgData name="Jonathan Vella" userId="ff59d9e4-9df8-4ae6-90e3-b837e2f6651b" providerId="ADAL" clId="{5E354878-CB4B-4F9D-A502-8883F324B3EF}" dt="2022-04-11T08:26:20.590" v="174" actId="47"/>
        <pc:sldMkLst>
          <pc:docMk/>
          <pc:sldMk cId="579524891" sldId="2145705985"/>
        </pc:sldMkLst>
      </pc:sldChg>
      <pc:sldChg chg="modSp add mod ord">
        <pc:chgData name="Jonathan Vella" userId="ff59d9e4-9df8-4ae6-90e3-b837e2f6651b" providerId="ADAL" clId="{5E354878-CB4B-4F9D-A502-8883F324B3EF}" dt="2022-04-25T16:24:42.457" v="4493" actId="20577"/>
        <pc:sldMkLst>
          <pc:docMk/>
          <pc:sldMk cId="2130633196" sldId="2145705985"/>
        </pc:sldMkLst>
        <pc:spChg chg="mod">
          <ac:chgData name="Jonathan Vella" userId="ff59d9e4-9df8-4ae6-90e3-b837e2f6651b" providerId="ADAL" clId="{5E354878-CB4B-4F9D-A502-8883F324B3EF}" dt="2022-04-25T16:24:34.742" v="4474" actId="6549"/>
          <ac:spMkLst>
            <pc:docMk/>
            <pc:sldMk cId="2130633196" sldId="2145705985"/>
            <ac:spMk id="17" creationId="{6C888C00-E318-43FB-A80C-54A8EA42D2C3}"/>
          </ac:spMkLst>
        </pc:spChg>
        <pc:spChg chg="mod">
          <ac:chgData name="Jonathan Vella" userId="ff59d9e4-9df8-4ae6-90e3-b837e2f6651b" providerId="ADAL" clId="{5E354878-CB4B-4F9D-A502-8883F324B3EF}" dt="2022-04-25T16:24:42.457" v="4493" actId="20577"/>
          <ac:spMkLst>
            <pc:docMk/>
            <pc:sldMk cId="2130633196" sldId="2145705985"/>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2779688388" sldId="2145705985"/>
        </pc:sldMkLst>
      </pc:sldChg>
      <pc:sldChg chg="add del replId">
        <pc:chgData name="Jonathan Vella" userId="ff59d9e4-9df8-4ae6-90e3-b837e2f6651b" providerId="ADAL" clId="{5E354878-CB4B-4F9D-A502-8883F324B3EF}" dt="2022-04-25T15:59:21.588" v="4105" actId="2890"/>
        <pc:sldMkLst>
          <pc:docMk/>
          <pc:sldMk cId="3517114744" sldId="2145705986"/>
        </pc:sldMkLst>
      </pc:sldChg>
      <pc:sldChg chg="add del replId">
        <pc:chgData name="Jonathan Vella" userId="ff59d9e4-9df8-4ae6-90e3-b837e2f6651b" providerId="ADAL" clId="{5E354878-CB4B-4F9D-A502-8883F324B3EF}" dt="2022-04-25T15:59:21.588" v="4105" actId="2890"/>
        <pc:sldMkLst>
          <pc:docMk/>
          <pc:sldMk cId="44238117" sldId="2145705987"/>
        </pc:sldMkLst>
      </pc:sldChg>
      <pc:sldChg chg="add del replId">
        <pc:chgData name="Jonathan Vella" userId="ff59d9e4-9df8-4ae6-90e3-b837e2f6651b" providerId="ADAL" clId="{5E354878-CB4B-4F9D-A502-8883F324B3EF}" dt="2022-04-25T15:59:21.588" v="4105" actId="2890"/>
        <pc:sldMkLst>
          <pc:docMk/>
          <pc:sldMk cId="14455598" sldId="2145705988"/>
        </pc:sldMkLst>
      </pc:sldChg>
      <pc:sldChg chg="add del replId">
        <pc:chgData name="Jonathan Vella" userId="ff59d9e4-9df8-4ae6-90e3-b837e2f6651b" providerId="ADAL" clId="{5E354878-CB4B-4F9D-A502-8883F324B3EF}" dt="2022-04-25T15:59:21.588" v="4105" actId="2890"/>
        <pc:sldMkLst>
          <pc:docMk/>
          <pc:sldMk cId="883303356" sldId="2145705989"/>
        </pc:sldMkLst>
      </pc:sldChg>
      <pc:sldChg chg="add del replId">
        <pc:chgData name="Jonathan Vella" userId="ff59d9e4-9df8-4ae6-90e3-b837e2f6651b" providerId="ADAL" clId="{5E354878-CB4B-4F9D-A502-8883F324B3EF}" dt="2022-04-25T15:59:21.588" v="4105" actId="2890"/>
        <pc:sldMkLst>
          <pc:docMk/>
          <pc:sldMk cId="363167524" sldId="2145705990"/>
        </pc:sldMkLst>
      </pc:sldChg>
      <pc:sldMasterChg chg="delSldLayout">
        <pc:chgData name="Jonathan Vella" userId="ff59d9e4-9df8-4ae6-90e3-b837e2f6651b" providerId="ADAL" clId="{5E354878-CB4B-4F9D-A502-8883F324B3EF}" dt="2022-04-07T08:27:17.941" v="10" actId="47"/>
        <pc:sldMasterMkLst>
          <pc:docMk/>
          <pc:sldMasterMk cId="765175513" sldId="2147483700"/>
        </pc:sldMasterMkLst>
        <pc:sldLayoutChg chg="del">
          <pc:chgData name="Jonathan Vella" userId="ff59d9e4-9df8-4ae6-90e3-b837e2f6651b" providerId="ADAL" clId="{5E354878-CB4B-4F9D-A502-8883F324B3EF}" dt="2022-04-07T08:27:17.941" v="10" actId="47"/>
          <pc:sldLayoutMkLst>
            <pc:docMk/>
            <pc:sldMasterMk cId="765175513" sldId="2147483700"/>
            <pc:sldLayoutMk cId="2044686826" sldId="2147483869"/>
          </pc:sldLayoutMkLst>
        </pc:sldLayoutChg>
      </pc:sldMasterChg>
      <pc:sldMasterChg chg="delSldLayout">
        <pc:chgData name="Jonathan Vella" userId="ff59d9e4-9df8-4ae6-90e3-b837e2f6651b" providerId="ADAL" clId="{5E354878-CB4B-4F9D-A502-8883F324B3EF}" dt="2022-03-29T10:54:43.092" v="0" actId="47"/>
        <pc:sldMasterMkLst>
          <pc:docMk/>
          <pc:sldMasterMk cId="828954947" sldId="2147483832"/>
        </pc:sldMasterMkLst>
        <pc:sldLayoutChg chg="del">
          <pc:chgData name="Jonathan Vella" userId="ff59d9e4-9df8-4ae6-90e3-b837e2f6651b" providerId="ADAL" clId="{5E354878-CB4B-4F9D-A502-8883F324B3EF}" dt="2022-03-29T10:54:43.092" v="0" actId="47"/>
          <pc:sldLayoutMkLst>
            <pc:docMk/>
            <pc:sldMasterMk cId="828954947" sldId="2147483832"/>
            <pc:sldLayoutMk cId="3359198688" sldId="2147483855"/>
          </pc:sldLayoutMkLst>
        </pc:sldLayoutChg>
      </pc:sldMasterChg>
      <pc:sldMasterChg chg="delSldLayout">
        <pc:chgData name="Jonathan Vella" userId="ff59d9e4-9df8-4ae6-90e3-b837e2f6651b" providerId="ADAL" clId="{5E354878-CB4B-4F9D-A502-8883F324B3EF}" dt="2022-04-07T08:27:46.219" v="11" actId="47"/>
        <pc:sldMasterMkLst>
          <pc:docMk/>
          <pc:sldMasterMk cId="1792881742" sldId="2147483957"/>
        </pc:sldMasterMkLst>
        <pc:sldLayoutChg chg="del">
          <pc:chgData name="Jonathan Vella" userId="ff59d9e4-9df8-4ae6-90e3-b837e2f6651b" providerId="ADAL" clId="{5E354878-CB4B-4F9D-A502-8883F324B3EF}" dt="2022-04-07T08:25:10.908" v="6" actId="47"/>
          <pc:sldLayoutMkLst>
            <pc:docMk/>
            <pc:sldMasterMk cId="1792881742" sldId="2147483957"/>
            <pc:sldLayoutMk cId="2023968415" sldId="2147483992"/>
          </pc:sldLayoutMkLst>
        </pc:sldLayoutChg>
        <pc:sldLayoutChg chg="del">
          <pc:chgData name="Jonathan Vella" userId="ff59d9e4-9df8-4ae6-90e3-b837e2f6651b" providerId="ADAL" clId="{5E354878-CB4B-4F9D-A502-8883F324B3EF}" dt="2022-04-07T08:25:27.394" v="8" actId="47"/>
          <pc:sldLayoutMkLst>
            <pc:docMk/>
            <pc:sldMasterMk cId="1792881742" sldId="2147483957"/>
            <pc:sldLayoutMk cId="2933238275" sldId="2147483993"/>
          </pc:sldLayoutMkLst>
        </pc:sldLayoutChg>
        <pc:sldLayoutChg chg="del">
          <pc:chgData name="Jonathan Vella" userId="ff59d9e4-9df8-4ae6-90e3-b837e2f6651b" providerId="ADAL" clId="{5E354878-CB4B-4F9D-A502-8883F324B3EF}" dt="2022-04-07T08:27:46.219" v="11" actId="47"/>
          <pc:sldLayoutMkLst>
            <pc:docMk/>
            <pc:sldMasterMk cId="1792881742" sldId="2147483957"/>
            <pc:sldLayoutMk cId="3627143708" sldId="2147483994"/>
          </pc:sldLayoutMkLst>
        </pc:sldLayoutChg>
      </pc:sldMasterChg>
    </pc:docChg>
  </pc:docChgLst>
  <pc:docChgLst>
    <pc:chgData name="Jonathan Vella" userId="ff59d9e4-9df8-4ae6-90e3-b837e2f6651b" providerId="ADAL" clId="{9A108D3A-79C6-4266-AA49-CCB7908C224E}"/>
    <pc:docChg chg="custSel addSld delSld modSld sldOrd modSection">
      <pc:chgData name="Jonathan Vella" userId="ff59d9e4-9df8-4ae6-90e3-b837e2f6651b" providerId="ADAL" clId="{9A108D3A-79C6-4266-AA49-CCB7908C224E}" dt="2022-09-07T14:08:26.154" v="1252" actId="6549"/>
      <pc:docMkLst>
        <pc:docMk/>
      </pc:docMkLst>
      <pc:sldChg chg="modSp mod modNotes">
        <pc:chgData name="Jonathan Vella" userId="ff59d9e4-9df8-4ae6-90e3-b837e2f6651b" providerId="ADAL" clId="{9A108D3A-79C6-4266-AA49-CCB7908C224E}" dt="2022-09-07T09:51:16.411" v="303" actId="33524"/>
        <pc:sldMkLst>
          <pc:docMk/>
          <pc:sldMk cId="2480172102" sldId="263"/>
        </pc:sldMkLst>
        <pc:spChg chg="mod">
          <ac:chgData name="Jonathan Vella" userId="ff59d9e4-9df8-4ae6-90e3-b837e2f6651b" providerId="ADAL" clId="{9A108D3A-79C6-4266-AA49-CCB7908C224E}" dt="2022-09-07T09:51:16.411" v="303" actId="33524"/>
          <ac:spMkLst>
            <pc:docMk/>
            <pc:sldMk cId="2480172102" sldId="263"/>
            <ac:spMk id="2" creationId="{724AB9D4-D3CB-4BF0-AC58-148877A366A4}"/>
          </ac:spMkLst>
        </pc:spChg>
      </pc:sldChg>
      <pc:sldChg chg="ord modNotes">
        <pc:chgData name="Jonathan Vella" userId="ff59d9e4-9df8-4ae6-90e3-b837e2f6651b" providerId="ADAL" clId="{9A108D3A-79C6-4266-AA49-CCB7908C224E}" dt="2022-09-07T10:36:36.794" v="547"/>
        <pc:sldMkLst>
          <pc:docMk/>
          <pc:sldMk cId="726869788" sldId="2120"/>
        </pc:sldMkLst>
      </pc:sldChg>
      <pc:sldChg chg="modNotes">
        <pc:chgData name="Jonathan Vella" userId="ff59d9e4-9df8-4ae6-90e3-b837e2f6651b" providerId="ADAL" clId="{9A108D3A-79C6-4266-AA49-CCB7908C224E}" dt="2022-09-07T09:48:15.236" v="267" actId="368"/>
        <pc:sldMkLst>
          <pc:docMk/>
          <pc:sldMk cId="2874508150" sldId="4649"/>
        </pc:sldMkLst>
      </pc:sldChg>
      <pc:sldChg chg="modNotes">
        <pc:chgData name="Jonathan Vella" userId="ff59d9e4-9df8-4ae6-90e3-b837e2f6651b" providerId="ADAL" clId="{9A108D3A-79C6-4266-AA49-CCB7908C224E}" dt="2022-09-07T09:48:15.252" v="271" actId="368"/>
        <pc:sldMkLst>
          <pc:docMk/>
          <pc:sldMk cId="3296622217" sldId="2076136993"/>
        </pc:sldMkLst>
      </pc:sldChg>
      <pc:sldChg chg="modSp mod">
        <pc:chgData name="Jonathan Vella" userId="ff59d9e4-9df8-4ae6-90e3-b837e2f6651b" providerId="ADAL" clId="{9A108D3A-79C6-4266-AA49-CCB7908C224E}" dt="2022-09-07T09:47:16.224" v="193" actId="6549"/>
        <pc:sldMkLst>
          <pc:docMk/>
          <pc:sldMk cId="1995395958" sldId="2076137812"/>
        </pc:sldMkLst>
        <pc:spChg chg="mod">
          <ac:chgData name="Jonathan Vella" userId="ff59d9e4-9df8-4ae6-90e3-b837e2f6651b" providerId="ADAL" clId="{9A108D3A-79C6-4266-AA49-CCB7908C224E}" dt="2022-09-07T09:47:05.160" v="166" actId="14100"/>
          <ac:spMkLst>
            <pc:docMk/>
            <pc:sldMk cId="1995395958" sldId="2076137812"/>
            <ac:spMk id="4" creationId="{00000000-0000-0000-0000-000000000000}"/>
          </ac:spMkLst>
        </pc:spChg>
        <pc:spChg chg="mod">
          <ac:chgData name="Jonathan Vella" userId="ff59d9e4-9df8-4ae6-90e3-b837e2f6651b" providerId="ADAL" clId="{9A108D3A-79C6-4266-AA49-CCB7908C224E}" dt="2022-09-07T09:47:16.224" v="193" actId="6549"/>
          <ac:spMkLst>
            <pc:docMk/>
            <pc:sldMk cId="1995395958" sldId="2076137812"/>
            <ac:spMk id="5" creationId="{00000000-0000-0000-0000-000000000000}"/>
          </ac:spMkLst>
        </pc:spChg>
      </pc:sldChg>
      <pc:sldChg chg="modSp mod modNotes">
        <pc:chgData name="Jonathan Vella" userId="ff59d9e4-9df8-4ae6-90e3-b837e2f6651b" providerId="ADAL" clId="{9A108D3A-79C6-4266-AA49-CCB7908C224E}" dt="2022-09-07T10:00:26.494" v="519" actId="20577"/>
        <pc:sldMkLst>
          <pc:docMk/>
          <pc:sldMk cId="3208971622" sldId="2076137813"/>
        </pc:sldMkLst>
        <pc:spChg chg="mod">
          <ac:chgData name="Jonathan Vella" userId="ff59d9e4-9df8-4ae6-90e3-b837e2f6651b" providerId="ADAL" clId="{9A108D3A-79C6-4266-AA49-CCB7908C224E}" dt="2022-09-07T10:00:26.494" v="519" actId="20577"/>
          <ac:spMkLst>
            <pc:docMk/>
            <pc:sldMk cId="3208971622" sldId="2076137813"/>
            <ac:spMk id="12" creationId="{80DF4DC5-7769-4EF6-A652-95EEB1A07247}"/>
          </ac:spMkLst>
        </pc:spChg>
        <pc:spChg chg="mod">
          <ac:chgData name="Jonathan Vella" userId="ff59d9e4-9df8-4ae6-90e3-b837e2f6651b" providerId="ADAL" clId="{9A108D3A-79C6-4266-AA49-CCB7908C224E}" dt="2022-09-07T09:59:30.815" v="509" actId="20577"/>
          <ac:spMkLst>
            <pc:docMk/>
            <pc:sldMk cId="3208971622" sldId="2076137813"/>
            <ac:spMk id="13" creationId="{FBE9D5C4-DCE1-4292-9D58-0E7A65DE42B0}"/>
          </ac:spMkLst>
        </pc:spChg>
        <pc:spChg chg="mod">
          <ac:chgData name="Jonathan Vella" userId="ff59d9e4-9df8-4ae6-90e3-b837e2f6651b" providerId="ADAL" clId="{9A108D3A-79C6-4266-AA49-CCB7908C224E}" dt="2022-09-07T10:00:00.772" v="513" actId="20577"/>
          <ac:spMkLst>
            <pc:docMk/>
            <pc:sldMk cId="3208971622" sldId="2076137813"/>
            <ac:spMk id="14" creationId="{50C69500-E024-408C-8E40-2D0BCFFE89A9}"/>
          </ac:spMkLst>
        </pc:spChg>
        <pc:spChg chg="mod">
          <ac:chgData name="Jonathan Vella" userId="ff59d9e4-9df8-4ae6-90e3-b837e2f6651b" providerId="ADAL" clId="{9A108D3A-79C6-4266-AA49-CCB7908C224E}" dt="2022-09-07T10:00:18.991" v="515" actId="20577"/>
          <ac:spMkLst>
            <pc:docMk/>
            <pc:sldMk cId="3208971622" sldId="2076137813"/>
            <ac:spMk id="16" creationId="{804BAC48-37CD-4B1F-88A0-5D8A568F4257}"/>
          </ac:spMkLst>
        </pc:spChg>
      </pc:sldChg>
      <pc:sldChg chg="modNotes">
        <pc:chgData name="Jonathan Vella" userId="ff59d9e4-9df8-4ae6-90e3-b837e2f6651b" providerId="ADAL" clId="{9A108D3A-79C6-4266-AA49-CCB7908C224E}" dt="2022-09-07T09:48:14.860" v="213" actId="368"/>
        <pc:sldMkLst>
          <pc:docMk/>
          <pc:sldMk cId="1752673424" sldId="2076137814"/>
        </pc:sldMkLst>
      </pc:sldChg>
      <pc:sldChg chg="modSp mod modNotes">
        <pc:chgData name="Jonathan Vella" userId="ff59d9e4-9df8-4ae6-90e3-b837e2f6651b" providerId="ADAL" clId="{9A108D3A-79C6-4266-AA49-CCB7908C224E}" dt="2022-09-07T09:56:08.245" v="410" actId="20577"/>
        <pc:sldMkLst>
          <pc:docMk/>
          <pc:sldMk cId="3085138353" sldId="2076137815"/>
        </pc:sldMkLst>
        <pc:spChg chg="mod">
          <ac:chgData name="Jonathan Vella" userId="ff59d9e4-9df8-4ae6-90e3-b837e2f6651b" providerId="ADAL" clId="{9A108D3A-79C6-4266-AA49-CCB7908C224E}" dt="2022-09-07T09:54:24.755" v="374" actId="1076"/>
          <ac:spMkLst>
            <pc:docMk/>
            <pc:sldMk cId="3085138353" sldId="2076137815"/>
            <ac:spMk id="11" creationId="{A4C32A7E-5BFE-44B1-B51D-371F91E51223}"/>
          </ac:spMkLst>
        </pc:spChg>
        <pc:spChg chg="mod">
          <ac:chgData name="Jonathan Vella" userId="ff59d9e4-9df8-4ae6-90e3-b837e2f6651b" providerId="ADAL" clId="{9A108D3A-79C6-4266-AA49-CCB7908C224E}" dt="2022-09-07T09:54:40.777" v="376" actId="1076"/>
          <ac:spMkLst>
            <pc:docMk/>
            <pc:sldMk cId="3085138353" sldId="2076137815"/>
            <ac:spMk id="13" creationId="{5B13AB83-968B-40E7-B792-E9029010F9A2}"/>
          </ac:spMkLst>
        </pc:spChg>
        <pc:spChg chg="mod">
          <ac:chgData name="Jonathan Vella" userId="ff59d9e4-9df8-4ae6-90e3-b837e2f6651b" providerId="ADAL" clId="{9A108D3A-79C6-4266-AA49-CCB7908C224E}" dt="2022-09-07T09:54:31.346" v="375" actId="1076"/>
          <ac:spMkLst>
            <pc:docMk/>
            <pc:sldMk cId="3085138353" sldId="2076137815"/>
            <ac:spMk id="14" creationId="{F3A35DE8-2B6C-4AE4-9BDE-F5900F4D8233}"/>
          </ac:spMkLst>
        </pc:spChg>
        <pc:graphicFrameChg chg="mod">
          <ac:chgData name="Jonathan Vella" userId="ff59d9e4-9df8-4ae6-90e3-b837e2f6651b" providerId="ADAL" clId="{9A108D3A-79C6-4266-AA49-CCB7908C224E}" dt="2022-09-07T09:56:08.245" v="410" actId="20577"/>
          <ac:graphicFrameMkLst>
            <pc:docMk/>
            <pc:sldMk cId="3085138353" sldId="2076137815"/>
            <ac:graphicFrameMk id="6" creationId="{05A25CFE-4BA1-4EF8-9266-D299FDC3FB22}"/>
          </ac:graphicFrameMkLst>
        </pc:graphicFrameChg>
      </pc:sldChg>
      <pc:sldChg chg="modNotes">
        <pc:chgData name="Jonathan Vella" userId="ff59d9e4-9df8-4ae6-90e3-b837e2f6651b" providerId="ADAL" clId="{9A108D3A-79C6-4266-AA49-CCB7908C224E}" dt="2022-09-07T09:48:14.938" v="223" actId="368"/>
        <pc:sldMkLst>
          <pc:docMk/>
          <pc:sldMk cId="3879778804" sldId="2076137816"/>
        </pc:sldMkLst>
      </pc:sldChg>
      <pc:sldChg chg="modNotes">
        <pc:chgData name="Jonathan Vella" userId="ff59d9e4-9df8-4ae6-90e3-b837e2f6651b" providerId="ADAL" clId="{9A108D3A-79C6-4266-AA49-CCB7908C224E}" dt="2022-09-07T09:48:14.954" v="225" actId="368"/>
        <pc:sldMkLst>
          <pc:docMk/>
          <pc:sldMk cId="470616907" sldId="2076137818"/>
        </pc:sldMkLst>
      </pc:sldChg>
      <pc:sldChg chg="modNotes">
        <pc:chgData name="Jonathan Vella" userId="ff59d9e4-9df8-4ae6-90e3-b837e2f6651b" providerId="ADAL" clId="{9A108D3A-79C6-4266-AA49-CCB7908C224E}" dt="2022-09-07T09:48:14.969" v="227" actId="368"/>
        <pc:sldMkLst>
          <pc:docMk/>
          <pc:sldMk cId="4197922815" sldId="2076137819"/>
        </pc:sldMkLst>
      </pc:sldChg>
      <pc:sldChg chg="modNotes">
        <pc:chgData name="Jonathan Vella" userId="ff59d9e4-9df8-4ae6-90e3-b837e2f6651b" providerId="ADAL" clId="{9A108D3A-79C6-4266-AA49-CCB7908C224E}" dt="2022-09-07T09:48:14.969" v="229" actId="368"/>
        <pc:sldMkLst>
          <pc:docMk/>
          <pc:sldMk cId="1184935605" sldId="2076137820"/>
        </pc:sldMkLst>
      </pc:sldChg>
      <pc:sldChg chg="modNotes">
        <pc:chgData name="Jonathan Vella" userId="ff59d9e4-9df8-4ae6-90e3-b837e2f6651b" providerId="ADAL" clId="{9A108D3A-79C6-4266-AA49-CCB7908C224E}" dt="2022-09-07T09:48:15.001" v="233" actId="368"/>
        <pc:sldMkLst>
          <pc:docMk/>
          <pc:sldMk cId="3744137550" sldId="2076137821"/>
        </pc:sldMkLst>
      </pc:sldChg>
      <pc:sldChg chg="modNotes">
        <pc:chgData name="Jonathan Vella" userId="ff59d9e4-9df8-4ae6-90e3-b837e2f6651b" providerId="ADAL" clId="{9A108D3A-79C6-4266-AA49-CCB7908C224E}" dt="2022-09-07T09:48:14.991" v="231" actId="368"/>
        <pc:sldMkLst>
          <pc:docMk/>
          <pc:sldMk cId="1676877109" sldId="2076137822"/>
        </pc:sldMkLst>
      </pc:sldChg>
      <pc:sldChg chg="modSp mod modNotes">
        <pc:chgData name="Jonathan Vella" userId="ff59d9e4-9df8-4ae6-90e3-b837e2f6651b" providerId="ADAL" clId="{9A108D3A-79C6-4266-AA49-CCB7908C224E}" dt="2022-09-07T09:49:27.129" v="299" actId="6549"/>
        <pc:sldMkLst>
          <pc:docMk/>
          <pc:sldMk cId="1443897692" sldId="2076137823"/>
        </pc:sldMkLst>
        <pc:spChg chg="mod">
          <ac:chgData name="Jonathan Vella" userId="ff59d9e4-9df8-4ae6-90e3-b837e2f6651b" providerId="ADAL" clId="{9A108D3A-79C6-4266-AA49-CCB7908C224E}" dt="2022-09-07T09:49:27.129" v="299" actId="6549"/>
          <ac:spMkLst>
            <pc:docMk/>
            <pc:sldMk cId="1443897692" sldId="2076137823"/>
            <ac:spMk id="4" creationId="{00000000-0000-0000-0000-000000000000}"/>
          </ac:spMkLst>
        </pc:spChg>
      </pc:sldChg>
      <pc:sldChg chg="modNotesTx">
        <pc:chgData name="Jonathan Vella" userId="ff59d9e4-9df8-4ae6-90e3-b837e2f6651b" providerId="ADAL" clId="{9A108D3A-79C6-4266-AA49-CCB7908C224E}" dt="2022-09-07T09:47:42.540" v="194" actId="6549"/>
        <pc:sldMkLst>
          <pc:docMk/>
          <pc:sldMk cId="1773292696" sldId="2076137826"/>
        </pc:sldMkLst>
      </pc:sldChg>
      <pc:sldChg chg="modSp mod modNotes">
        <pc:chgData name="Jonathan Vella" userId="ff59d9e4-9df8-4ae6-90e3-b837e2f6651b" providerId="ADAL" clId="{9A108D3A-79C6-4266-AA49-CCB7908C224E}" dt="2022-09-07T09:49:33.824" v="302" actId="6549"/>
        <pc:sldMkLst>
          <pc:docMk/>
          <pc:sldMk cId="1125268878" sldId="2076137827"/>
        </pc:sldMkLst>
        <pc:spChg chg="mod">
          <ac:chgData name="Jonathan Vella" userId="ff59d9e4-9df8-4ae6-90e3-b837e2f6651b" providerId="ADAL" clId="{9A108D3A-79C6-4266-AA49-CCB7908C224E}" dt="2022-09-07T09:49:33.824" v="302" actId="6549"/>
          <ac:spMkLst>
            <pc:docMk/>
            <pc:sldMk cId="1125268878" sldId="2076137827"/>
            <ac:spMk id="4" creationId="{00000000-0000-0000-0000-000000000000}"/>
          </ac:spMkLst>
        </pc:spChg>
      </pc:sldChg>
      <pc:sldChg chg="modSp mod modNotes">
        <pc:chgData name="Jonathan Vella" userId="ff59d9e4-9df8-4ae6-90e3-b837e2f6651b" providerId="ADAL" clId="{9A108D3A-79C6-4266-AA49-CCB7908C224E}" dt="2022-09-07T09:57:03.255" v="425" actId="20577"/>
        <pc:sldMkLst>
          <pc:docMk/>
          <pc:sldMk cId="130504044" sldId="2076137828"/>
        </pc:sldMkLst>
        <pc:spChg chg="mod">
          <ac:chgData name="Jonathan Vella" userId="ff59d9e4-9df8-4ae6-90e3-b837e2f6651b" providerId="ADAL" clId="{9A108D3A-79C6-4266-AA49-CCB7908C224E}" dt="2022-09-07T09:57:03.255" v="425" actId="20577"/>
          <ac:spMkLst>
            <pc:docMk/>
            <pc:sldMk cId="130504044" sldId="2076137828"/>
            <ac:spMk id="4" creationId="{00000000-0000-0000-0000-000000000000}"/>
          </ac:spMkLst>
        </pc:spChg>
      </pc:sldChg>
      <pc:sldChg chg="modNotes">
        <pc:chgData name="Jonathan Vella" userId="ff59d9e4-9df8-4ae6-90e3-b837e2f6651b" providerId="ADAL" clId="{9A108D3A-79C6-4266-AA49-CCB7908C224E}" dt="2022-09-07T09:48:15.377" v="281" actId="368"/>
        <pc:sldMkLst>
          <pc:docMk/>
          <pc:sldMk cId="254237867" sldId="2076137829"/>
        </pc:sldMkLst>
      </pc:sldChg>
      <pc:sldChg chg="modNotes">
        <pc:chgData name="Jonathan Vella" userId="ff59d9e4-9df8-4ae6-90e3-b837e2f6651b" providerId="ADAL" clId="{9A108D3A-79C6-4266-AA49-CCB7908C224E}" dt="2022-09-07T09:48:15.425" v="289" actId="368"/>
        <pc:sldMkLst>
          <pc:docMk/>
          <pc:sldMk cId="3185470858" sldId="2076137830"/>
        </pc:sldMkLst>
      </pc:sldChg>
      <pc:sldChg chg="modNotes">
        <pc:chgData name="Jonathan Vella" userId="ff59d9e4-9df8-4ae6-90e3-b837e2f6651b" providerId="ADAL" clId="{9A108D3A-79C6-4266-AA49-CCB7908C224E}" dt="2022-09-07T09:48:15.346" v="277" actId="368"/>
        <pc:sldMkLst>
          <pc:docMk/>
          <pc:sldMk cId="181722268" sldId="2076137832"/>
        </pc:sldMkLst>
      </pc:sldChg>
      <pc:sldChg chg="modNotes">
        <pc:chgData name="Jonathan Vella" userId="ff59d9e4-9df8-4ae6-90e3-b837e2f6651b" providerId="ADAL" clId="{9A108D3A-79C6-4266-AA49-CCB7908C224E}" dt="2022-09-07T09:48:15.362" v="279" actId="368"/>
        <pc:sldMkLst>
          <pc:docMk/>
          <pc:sldMk cId="908604115" sldId="2076137834"/>
        </pc:sldMkLst>
      </pc:sldChg>
      <pc:sldChg chg="modNotes">
        <pc:chgData name="Jonathan Vella" userId="ff59d9e4-9df8-4ae6-90e3-b837e2f6651b" providerId="ADAL" clId="{9A108D3A-79C6-4266-AA49-CCB7908C224E}" dt="2022-09-07T09:48:15.440" v="291" actId="368"/>
        <pc:sldMkLst>
          <pc:docMk/>
          <pc:sldMk cId="3401808151" sldId="2076137837"/>
        </pc:sldMkLst>
      </pc:sldChg>
      <pc:sldChg chg="modNotes">
        <pc:chgData name="Jonathan Vella" userId="ff59d9e4-9df8-4ae6-90e3-b837e2f6651b" providerId="ADAL" clId="{9A108D3A-79C6-4266-AA49-CCB7908C224E}" dt="2022-09-07T09:48:15.440" v="293" actId="368"/>
        <pc:sldMkLst>
          <pc:docMk/>
          <pc:sldMk cId="258580382" sldId="2076137838"/>
        </pc:sldMkLst>
      </pc:sldChg>
      <pc:sldChg chg="modNotes">
        <pc:chgData name="Jonathan Vella" userId="ff59d9e4-9df8-4ae6-90e3-b837e2f6651b" providerId="ADAL" clId="{9A108D3A-79C6-4266-AA49-CCB7908C224E}" dt="2022-09-07T09:48:15.394" v="283" actId="368"/>
        <pc:sldMkLst>
          <pc:docMk/>
          <pc:sldMk cId="3834849948" sldId="2076137841"/>
        </pc:sldMkLst>
      </pc:sldChg>
      <pc:sldChg chg="modNotes">
        <pc:chgData name="Jonathan Vella" userId="ff59d9e4-9df8-4ae6-90e3-b837e2f6651b" providerId="ADAL" clId="{9A108D3A-79C6-4266-AA49-CCB7908C224E}" dt="2022-09-07T09:48:15.394" v="285" actId="368"/>
        <pc:sldMkLst>
          <pc:docMk/>
          <pc:sldMk cId="78919145" sldId="2076137843"/>
        </pc:sldMkLst>
      </pc:sldChg>
      <pc:sldChg chg="modNotes">
        <pc:chgData name="Jonathan Vella" userId="ff59d9e4-9df8-4ae6-90e3-b837e2f6651b" providerId="ADAL" clId="{9A108D3A-79C6-4266-AA49-CCB7908C224E}" dt="2022-09-07T09:48:15.409" v="287" actId="368"/>
        <pc:sldMkLst>
          <pc:docMk/>
          <pc:sldMk cId="2051936880" sldId="2076137845"/>
        </pc:sldMkLst>
      </pc:sldChg>
      <pc:sldChg chg="modSp modNotes">
        <pc:chgData name="Jonathan Vella" userId="ff59d9e4-9df8-4ae6-90e3-b837e2f6651b" providerId="ADAL" clId="{9A108D3A-79C6-4266-AA49-CCB7908C224E}" dt="2022-09-07T10:35:14.842" v="544" actId="1076"/>
        <pc:sldMkLst>
          <pc:docMk/>
          <pc:sldMk cId="1009854136" sldId="2076137846"/>
        </pc:sldMkLst>
        <pc:picChg chg="mod">
          <ac:chgData name="Jonathan Vella" userId="ff59d9e4-9df8-4ae6-90e3-b837e2f6651b" providerId="ADAL" clId="{9A108D3A-79C6-4266-AA49-CCB7908C224E}" dt="2022-09-07T10:35:14.842" v="544" actId="1076"/>
          <ac:picMkLst>
            <pc:docMk/>
            <pc:sldMk cId="1009854136" sldId="2076137846"/>
            <ac:picMk id="1026" creationId="{144D8763-4919-47AB-ABD5-17181F304D1B}"/>
          </ac:picMkLst>
        </pc:picChg>
      </pc:sldChg>
      <pc:sldChg chg="modNotes">
        <pc:chgData name="Jonathan Vella" userId="ff59d9e4-9df8-4ae6-90e3-b837e2f6651b" providerId="ADAL" clId="{9A108D3A-79C6-4266-AA49-CCB7908C224E}" dt="2022-09-07T09:48:15.032" v="239" actId="368"/>
        <pc:sldMkLst>
          <pc:docMk/>
          <pc:sldMk cId="2069725814" sldId="2076137847"/>
        </pc:sldMkLst>
      </pc:sldChg>
      <pc:sldChg chg="modNotes">
        <pc:chgData name="Jonathan Vella" userId="ff59d9e4-9df8-4ae6-90e3-b837e2f6651b" providerId="ADAL" clId="{9A108D3A-79C6-4266-AA49-CCB7908C224E}" dt="2022-09-07T09:48:15.063" v="243" actId="368"/>
        <pc:sldMkLst>
          <pc:docMk/>
          <pc:sldMk cId="3731984453" sldId="2076137848"/>
        </pc:sldMkLst>
      </pc:sldChg>
      <pc:sldChg chg="modNotes">
        <pc:chgData name="Jonathan Vella" userId="ff59d9e4-9df8-4ae6-90e3-b837e2f6651b" providerId="ADAL" clId="{9A108D3A-79C6-4266-AA49-CCB7908C224E}" dt="2022-09-07T09:48:15.126" v="253" actId="368"/>
        <pc:sldMkLst>
          <pc:docMk/>
          <pc:sldMk cId="3100899148" sldId="2076137849"/>
        </pc:sldMkLst>
      </pc:sldChg>
      <pc:sldChg chg="modNotes">
        <pc:chgData name="Jonathan Vella" userId="ff59d9e4-9df8-4ae6-90e3-b837e2f6651b" providerId="ADAL" clId="{9A108D3A-79C6-4266-AA49-CCB7908C224E}" dt="2022-09-07T09:48:15.095" v="247" actId="368"/>
        <pc:sldMkLst>
          <pc:docMk/>
          <pc:sldMk cId="327522770" sldId="2076137850"/>
        </pc:sldMkLst>
      </pc:sldChg>
      <pc:sldChg chg="modNotes">
        <pc:chgData name="Jonathan Vella" userId="ff59d9e4-9df8-4ae6-90e3-b837e2f6651b" providerId="ADAL" clId="{9A108D3A-79C6-4266-AA49-CCB7908C224E}" dt="2022-09-07T09:48:15.189" v="263" actId="368"/>
        <pc:sldMkLst>
          <pc:docMk/>
          <pc:sldMk cId="2455023361" sldId="2076137851"/>
        </pc:sldMkLst>
      </pc:sldChg>
      <pc:sldChg chg="modNotes">
        <pc:chgData name="Jonathan Vella" userId="ff59d9e4-9df8-4ae6-90e3-b837e2f6651b" providerId="ADAL" clId="{9A108D3A-79C6-4266-AA49-CCB7908C224E}" dt="2022-09-07T09:48:15.205" v="265" actId="368"/>
        <pc:sldMkLst>
          <pc:docMk/>
          <pc:sldMk cId="611620722" sldId="2076137852"/>
        </pc:sldMkLst>
      </pc:sldChg>
      <pc:sldChg chg="modNotes">
        <pc:chgData name="Jonathan Vella" userId="ff59d9e4-9df8-4ae6-90e3-b837e2f6651b" providerId="ADAL" clId="{9A108D3A-79C6-4266-AA49-CCB7908C224E}" dt="2022-09-07T09:48:15.173" v="261" actId="368"/>
        <pc:sldMkLst>
          <pc:docMk/>
          <pc:sldMk cId="33341425" sldId="2076137853"/>
        </pc:sldMkLst>
      </pc:sldChg>
      <pc:sldChg chg="modNotes">
        <pc:chgData name="Jonathan Vella" userId="ff59d9e4-9df8-4ae6-90e3-b837e2f6651b" providerId="ADAL" clId="{9A108D3A-79C6-4266-AA49-CCB7908C224E}" dt="2022-09-07T09:48:15.331" v="275" actId="368"/>
        <pc:sldMkLst>
          <pc:docMk/>
          <pc:sldMk cId="1745609036" sldId="2076137854"/>
        </pc:sldMkLst>
      </pc:sldChg>
      <pc:sldChg chg="modSp mod modNotes modNotesTx">
        <pc:chgData name="Jonathan Vella" userId="ff59d9e4-9df8-4ae6-90e3-b837e2f6651b" providerId="ADAL" clId="{9A108D3A-79C6-4266-AA49-CCB7908C224E}" dt="2022-09-07T09:48:28.307" v="297" actId="20577"/>
        <pc:sldMkLst>
          <pc:docMk/>
          <pc:sldMk cId="72157021" sldId="2134805668"/>
        </pc:sldMkLst>
        <pc:spChg chg="mod">
          <ac:chgData name="Jonathan Vella" userId="ff59d9e4-9df8-4ae6-90e3-b837e2f6651b" providerId="ADAL" clId="{9A108D3A-79C6-4266-AA49-CCB7908C224E}" dt="2022-09-07T09:48:28.307" v="297" actId="20577"/>
          <ac:spMkLst>
            <pc:docMk/>
            <pc:sldMk cId="72157021" sldId="2134805668"/>
            <ac:spMk id="4" creationId="{00000000-0000-0000-0000-000000000000}"/>
          </ac:spMkLst>
        </pc:spChg>
      </pc:sldChg>
      <pc:sldChg chg="ord modNotes">
        <pc:chgData name="Jonathan Vella" userId="ff59d9e4-9df8-4ae6-90e3-b837e2f6651b" providerId="ADAL" clId="{9A108D3A-79C6-4266-AA49-CCB7908C224E}" dt="2022-09-07T10:36:36.794" v="547"/>
        <pc:sldMkLst>
          <pc:docMk/>
          <pc:sldMk cId="3200422893" sldId="2134805680"/>
        </pc:sldMkLst>
      </pc:sldChg>
      <pc:sldChg chg="modSp mod modNotes">
        <pc:chgData name="Jonathan Vella" userId="ff59d9e4-9df8-4ae6-90e3-b837e2f6651b" providerId="ADAL" clId="{9A108D3A-79C6-4266-AA49-CCB7908C224E}" dt="2022-09-07T09:56:41.590" v="411" actId="6549"/>
        <pc:sldMkLst>
          <pc:docMk/>
          <pc:sldMk cId="2268957260" sldId="2134805681"/>
        </pc:sldMkLst>
        <pc:spChg chg="mod">
          <ac:chgData name="Jonathan Vella" userId="ff59d9e4-9df8-4ae6-90e3-b837e2f6651b" providerId="ADAL" clId="{9A108D3A-79C6-4266-AA49-CCB7908C224E}" dt="2022-09-07T09:56:41.590" v="411" actId="6549"/>
          <ac:spMkLst>
            <pc:docMk/>
            <pc:sldMk cId="2268957260" sldId="2134805681"/>
            <ac:spMk id="4" creationId="{D877D969-5313-4843-9C97-FA3570558829}"/>
          </ac:spMkLst>
        </pc:spChg>
      </pc:sldChg>
      <pc:sldChg chg="modNotes">
        <pc:chgData name="Jonathan Vella" userId="ff59d9e4-9df8-4ae6-90e3-b837e2f6651b" providerId="ADAL" clId="{9A108D3A-79C6-4266-AA49-CCB7908C224E}" dt="2022-09-07T09:48:14.813" v="205" actId="368"/>
        <pc:sldMkLst>
          <pc:docMk/>
          <pc:sldMk cId="1783459546" sldId="2134805682"/>
        </pc:sldMkLst>
      </pc:sldChg>
      <pc:sldChg chg="modNotes">
        <pc:chgData name="Jonathan Vella" userId="ff59d9e4-9df8-4ae6-90e3-b837e2f6651b" providerId="ADAL" clId="{9A108D3A-79C6-4266-AA49-CCB7908C224E}" dt="2022-09-07T09:48:14.813" v="207" actId="368"/>
        <pc:sldMkLst>
          <pc:docMk/>
          <pc:sldMk cId="2160925228" sldId="2134805707"/>
        </pc:sldMkLst>
      </pc:sldChg>
      <pc:sldChg chg="modNotes">
        <pc:chgData name="Jonathan Vella" userId="ff59d9e4-9df8-4ae6-90e3-b837e2f6651b" providerId="ADAL" clId="{9A108D3A-79C6-4266-AA49-CCB7908C224E}" dt="2022-09-07T09:48:15.016" v="237" actId="368"/>
        <pc:sldMkLst>
          <pc:docMk/>
          <pc:sldMk cId="2808553302" sldId="2134805708"/>
        </pc:sldMkLst>
      </pc:sldChg>
      <pc:sldChg chg="modSp del mod">
        <pc:chgData name="Jonathan Vella" userId="ff59d9e4-9df8-4ae6-90e3-b837e2f6651b" providerId="ADAL" clId="{9A108D3A-79C6-4266-AA49-CCB7908C224E}" dt="2022-09-07T10:37:21.966" v="548" actId="47"/>
        <pc:sldMkLst>
          <pc:docMk/>
          <pc:sldMk cId="63944559" sldId="2134806095"/>
        </pc:sldMkLst>
        <pc:spChg chg="mod">
          <ac:chgData name="Jonathan Vella" userId="ff59d9e4-9df8-4ae6-90e3-b837e2f6651b" providerId="ADAL" clId="{9A108D3A-79C6-4266-AA49-CCB7908C224E}" dt="2022-09-07T10:31:10.887" v="526" actId="20577"/>
          <ac:spMkLst>
            <pc:docMk/>
            <pc:sldMk cId="63944559" sldId="2134806095"/>
            <ac:spMk id="2" creationId="{271ECE3C-9966-4A0B-AA55-119F2E82F05C}"/>
          </ac:spMkLst>
        </pc:spChg>
      </pc:sldChg>
      <pc:sldChg chg="modSp del mod">
        <pc:chgData name="Jonathan Vella" userId="ff59d9e4-9df8-4ae6-90e3-b837e2f6651b" providerId="ADAL" clId="{9A108D3A-79C6-4266-AA49-CCB7908C224E}" dt="2022-09-07T10:37:21.966" v="548" actId="47"/>
        <pc:sldMkLst>
          <pc:docMk/>
          <pc:sldMk cId="2811313425" sldId="2134806096"/>
        </pc:sldMkLst>
        <pc:spChg chg="mod">
          <ac:chgData name="Jonathan Vella" userId="ff59d9e4-9df8-4ae6-90e3-b837e2f6651b" providerId="ADAL" clId="{9A108D3A-79C6-4266-AA49-CCB7908C224E}" dt="2022-09-07T10:31:00.899" v="522" actId="27636"/>
          <ac:spMkLst>
            <pc:docMk/>
            <pc:sldMk cId="2811313425" sldId="2134806096"/>
            <ac:spMk id="3" creationId="{C684F063-07A7-4C7B-9BB0-388602E4B431}"/>
          </ac:spMkLst>
        </pc:spChg>
      </pc:sldChg>
      <pc:sldChg chg="modSp del mod">
        <pc:chgData name="Jonathan Vella" userId="ff59d9e4-9df8-4ae6-90e3-b837e2f6651b" providerId="ADAL" clId="{9A108D3A-79C6-4266-AA49-CCB7908C224E}" dt="2022-09-07T10:34:09.944" v="543" actId="47"/>
        <pc:sldMkLst>
          <pc:docMk/>
          <pc:sldMk cId="1848686570" sldId="2134806099"/>
        </pc:sldMkLst>
        <pc:spChg chg="mod">
          <ac:chgData name="Jonathan Vella" userId="ff59d9e4-9df8-4ae6-90e3-b837e2f6651b" providerId="ADAL" clId="{9A108D3A-79C6-4266-AA49-CCB7908C224E}" dt="2022-09-07T10:33:58.485" v="542" actId="6549"/>
          <ac:spMkLst>
            <pc:docMk/>
            <pc:sldMk cId="1848686570" sldId="2134806099"/>
            <ac:spMk id="4" creationId="{9E9935C8-1456-4E2B-8EB8-B4214573E69C}"/>
          </ac:spMkLst>
        </pc:spChg>
        <pc:spChg chg="mod">
          <ac:chgData name="Jonathan Vella" userId="ff59d9e4-9df8-4ae6-90e3-b837e2f6651b" providerId="ADAL" clId="{9A108D3A-79C6-4266-AA49-CCB7908C224E}" dt="2022-09-07T10:31:00.853" v="520" actId="27636"/>
          <ac:spMkLst>
            <pc:docMk/>
            <pc:sldMk cId="1848686570" sldId="2134806099"/>
            <ac:spMk id="5" creationId="{A259F641-AC3B-46A1-B049-9851454976FE}"/>
          </ac:spMkLst>
        </pc:spChg>
      </pc:sldChg>
      <pc:sldChg chg="modNotes">
        <pc:chgData name="Jonathan Vella" userId="ff59d9e4-9df8-4ae6-90e3-b837e2f6651b" providerId="ADAL" clId="{9A108D3A-79C6-4266-AA49-CCB7908C224E}" dt="2022-09-07T09:48:15.063" v="245" actId="368"/>
        <pc:sldMkLst>
          <pc:docMk/>
          <pc:sldMk cId="2098457255" sldId="2145705937"/>
        </pc:sldMkLst>
      </pc:sldChg>
      <pc:sldChg chg="modNotes">
        <pc:chgData name="Jonathan Vella" userId="ff59d9e4-9df8-4ae6-90e3-b837e2f6651b" providerId="ADAL" clId="{9A108D3A-79C6-4266-AA49-CCB7908C224E}" dt="2022-09-07T09:48:15.236" v="269" actId="368"/>
        <pc:sldMkLst>
          <pc:docMk/>
          <pc:sldMk cId="2978473899" sldId="2145705947"/>
        </pc:sldMkLst>
      </pc:sldChg>
      <pc:sldChg chg="modSp modAnim modNotes">
        <pc:chgData name="Jonathan Vella" userId="ff59d9e4-9df8-4ae6-90e3-b837e2f6651b" providerId="ADAL" clId="{9A108D3A-79C6-4266-AA49-CCB7908C224E}" dt="2022-09-07T13:46:22.060" v="700" actId="20577"/>
        <pc:sldMkLst>
          <pc:docMk/>
          <pc:sldMk cId="3466835861" sldId="2145705971"/>
        </pc:sldMkLst>
        <pc:spChg chg="mod">
          <ac:chgData name="Jonathan Vella" userId="ff59d9e4-9df8-4ae6-90e3-b837e2f6651b" providerId="ADAL" clId="{9A108D3A-79C6-4266-AA49-CCB7908C224E}" dt="2022-09-07T13:46:22.060" v="700" actId="20577"/>
          <ac:spMkLst>
            <pc:docMk/>
            <pc:sldMk cId="3466835861" sldId="2145705971"/>
            <ac:spMk id="15" creationId="{1E566100-ADBB-4258-8EC3-23BBEEC9793D}"/>
          </ac:spMkLst>
        </pc:spChg>
      </pc:sldChg>
      <pc:sldChg chg="modSp modNotes">
        <pc:chgData name="Jonathan Vella" userId="ff59d9e4-9df8-4ae6-90e3-b837e2f6651b" providerId="ADAL" clId="{9A108D3A-79C6-4266-AA49-CCB7908C224E}" dt="2022-09-07T13:49:03.988" v="738" actId="20577"/>
        <pc:sldMkLst>
          <pc:docMk/>
          <pc:sldMk cId="3155259312" sldId="2145705972"/>
        </pc:sldMkLst>
        <pc:spChg chg="mod">
          <ac:chgData name="Jonathan Vella" userId="ff59d9e4-9df8-4ae6-90e3-b837e2f6651b" providerId="ADAL" clId="{9A108D3A-79C6-4266-AA49-CCB7908C224E}" dt="2022-09-07T13:49:03.988" v="738" actId="20577"/>
          <ac:spMkLst>
            <pc:docMk/>
            <pc:sldMk cId="3155259312" sldId="2145705972"/>
            <ac:spMk id="15" creationId="{1E566100-ADBB-4258-8EC3-23BBEEC9793D}"/>
          </ac:spMkLst>
        </pc:spChg>
      </pc:sldChg>
      <pc:sldChg chg="modSp mod modNotes">
        <pc:chgData name="Jonathan Vella" userId="ff59d9e4-9df8-4ae6-90e3-b837e2f6651b" providerId="ADAL" clId="{9A108D3A-79C6-4266-AA49-CCB7908C224E}" dt="2022-09-07T13:52:35.422" v="821" actId="20577"/>
        <pc:sldMkLst>
          <pc:docMk/>
          <pc:sldMk cId="4264489091" sldId="2145705973"/>
        </pc:sldMkLst>
        <pc:spChg chg="mod">
          <ac:chgData name="Jonathan Vella" userId="ff59d9e4-9df8-4ae6-90e3-b837e2f6651b" providerId="ADAL" clId="{9A108D3A-79C6-4266-AA49-CCB7908C224E}" dt="2022-09-07T13:52:35.422" v="821" actId="20577"/>
          <ac:spMkLst>
            <pc:docMk/>
            <pc:sldMk cId="4264489091" sldId="2145705973"/>
            <ac:spMk id="15" creationId="{1E566100-ADBB-4258-8EC3-23BBEEC9793D}"/>
          </ac:spMkLst>
        </pc:spChg>
      </pc:sldChg>
      <pc:sldChg chg="modSp mod">
        <pc:chgData name="Jonathan Vella" userId="ff59d9e4-9df8-4ae6-90e3-b837e2f6651b" providerId="ADAL" clId="{9A108D3A-79C6-4266-AA49-CCB7908C224E}" dt="2022-09-07T14:02:29.575" v="928" actId="6549"/>
        <pc:sldMkLst>
          <pc:docMk/>
          <pc:sldMk cId="3122214548" sldId="2145705974"/>
        </pc:sldMkLst>
        <pc:spChg chg="mod">
          <ac:chgData name="Jonathan Vella" userId="ff59d9e4-9df8-4ae6-90e3-b837e2f6651b" providerId="ADAL" clId="{9A108D3A-79C6-4266-AA49-CCB7908C224E}" dt="2022-09-07T14:02:29.575" v="928" actId="6549"/>
          <ac:spMkLst>
            <pc:docMk/>
            <pc:sldMk cId="3122214548" sldId="2145705974"/>
            <ac:spMk id="17" creationId="{6C888C00-E318-43FB-A80C-54A8EA42D2C3}"/>
          </ac:spMkLst>
        </pc:spChg>
      </pc:sldChg>
      <pc:sldChg chg="modSp mod">
        <pc:chgData name="Jonathan Vella" userId="ff59d9e4-9df8-4ae6-90e3-b837e2f6651b" providerId="ADAL" clId="{9A108D3A-79C6-4266-AA49-CCB7908C224E}" dt="2022-09-07T14:05:41.810" v="1104" actId="20577"/>
        <pc:sldMkLst>
          <pc:docMk/>
          <pc:sldMk cId="991166745" sldId="2145705975"/>
        </pc:sldMkLst>
        <pc:spChg chg="mod">
          <ac:chgData name="Jonathan Vella" userId="ff59d9e4-9df8-4ae6-90e3-b837e2f6651b" providerId="ADAL" clId="{9A108D3A-79C6-4266-AA49-CCB7908C224E}" dt="2022-09-07T14:05:41.810" v="1104" actId="20577"/>
          <ac:spMkLst>
            <pc:docMk/>
            <pc:sldMk cId="991166745" sldId="2145705975"/>
            <ac:spMk id="17" creationId="{6C888C00-E318-43FB-A80C-54A8EA42D2C3}"/>
          </ac:spMkLst>
        </pc:spChg>
      </pc:sldChg>
      <pc:sldChg chg="modSp">
        <pc:chgData name="Jonathan Vella" userId="ff59d9e4-9df8-4ae6-90e3-b837e2f6651b" providerId="ADAL" clId="{9A108D3A-79C6-4266-AA49-CCB7908C224E}" dt="2022-09-07T13:59:12.758" v="893" actId="20577"/>
        <pc:sldMkLst>
          <pc:docMk/>
          <pc:sldMk cId="1456434766" sldId="2145705976"/>
        </pc:sldMkLst>
        <pc:spChg chg="mod">
          <ac:chgData name="Jonathan Vella" userId="ff59d9e4-9df8-4ae6-90e3-b837e2f6651b" providerId="ADAL" clId="{9A108D3A-79C6-4266-AA49-CCB7908C224E}" dt="2022-09-07T13:59:12.758" v="893" actId="20577"/>
          <ac:spMkLst>
            <pc:docMk/>
            <pc:sldMk cId="1456434766" sldId="2145705976"/>
            <ac:spMk id="17" creationId="{6C888C00-E318-43FB-A80C-54A8EA42D2C3}"/>
          </ac:spMkLst>
        </pc:spChg>
      </pc:sldChg>
      <pc:sldChg chg="modNotes">
        <pc:chgData name="Jonathan Vella" userId="ff59d9e4-9df8-4ae6-90e3-b837e2f6651b" providerId="ADAL" clId="{9A108D3A-79C6-4266-AA49-CCB7908C224E}" dt="2022-09-07T09:48:15.142" v="257" actId="368"/>
        <pc:sldMkLst>
          <pc:docMk/>
          <pc:sldMk cId="2789173668" sldId="2145705977"/>
        </pc:sldMkLst>
      </pc:sldChg>
      <pc:sldChg chg="modSp modAnim modNotes">
        <pc:chgData name="Jonathan Vella" userId="ff59d9e4-9df8-4ae6-90e3-b837e2f6651b" providerId="ADAL" clId="{9A108D3A-79C6-4266-AA49-CCB7908C224E}" dt="2022-09-07T13:57:49.627" v="879" actId="20577"/>
        <pc:sldMkLst>
          <pc:docMk/>
          <pc:sldMk cId="1578671869" sldId="2145705978"/>
        </pc:sldMkLst>
        <pc:spChg chg="mod">
          <ac:chgData name="Jonathan Vella" userId="ff59d9e4-9df8-4ae6-90e3-b837e2f6651b" providerId="ADAL" clId="{9A108D3A-79C6-4266-AA49-CCB7908C224E}" dt="2022-09-07T13:57:49.627" v="879" actId="20577"/>
          <ac:spMkLst>
            <pc:docMk/>
            <pc:sldMk cId="1578671869" sldId="2145705978"/>
            <ac:spMk id="15" creationId="{1E566100-ADBB-4258-8EC3-23BBEEC9793D}"/>
          </ac:spMkLst>
        </pc:spChg>
      </pc:sldChg>
      <pc:sldChg chg="modNotes">
        <pc:chgData name="Jonathan Vella" userId="ff59d9e4-9df8-4ae6-90e3-b837e2f6651b" providerId="ADAL" clId="{9A108D3A-79C6-4266-AA49-CCB7908C224E}" dt="2022-09-07T09:48:15.157" v="259" actId="368"/>
        <pc:sldMkLst>
          <pc:docMk/>
          <pc:sldMk cId="3454076302" sldId="2145705979"/>
        </pc:sldMkLst>
      </pc:sldChg>
      <pc:sldChg chg="modNotes">
        <pc:chgData name="Jonathan Vella" userId="ff59d9e4-9df8-4ae6-90e3-b837e2f6651b" providerId="ADAL" clId="{9A108D3A-79C6-4266-AA49-CCB7908C224E}" dt="2022-09-07T09:48:15.292" v="273" actId="368"/>
        <pc:sldMkLst>
          <pc:docMk/>
          <pc:sldMk cId="3426613854" sldId="2145705981"/>
        </pc:sldMkLst>
      </pc:sldChg>
      <pc:sldChg chg="modSp mod">
        <pc:chgData name="Jonathan Vella" userId="ff59d9e4-9df8-4ae6-90e3-b837e2f6651b" providerId="ADAL" clId="{9A108D3A-79C6-4266-AA49-CCB7908C224E}" dt="2022-09-07T14:08:26.154" v="1252" actId="6549"/>
        <pc:sldMkLst>
          <pc:docMk/>
          <pc:sldMk cId="3846288735" sldId="2145705983"/>
        </pc:sldMkLst>
        <pc:spChg chg="mod">
          <ac:chgData name="Jonathan Vella" userId="ff59d9e4-9df8-4ae6-90e3-b837e2f6651b" providerId="ADAL" clId="{9A108D3A-79C6-4266-AA49-CCB7908C224E}" dt="2022-09-07T14:08:26.154" v="1252" actId="6549"/>
          <ac:spMkLst>
            <pc:docMk/>
            <pc:sldMk cId="3846288735" sldId="2145705983"/>
            <ac:spMk id="17" creationId="{6C888C00-E318-43FB-A80C-54A8EA42D2C3}"/>
          </ac:spMkLst>
        </pc:spChg>
      </pc:sldChg>
      <pc:sldChg chg="modSp mod">
        <pc:chgData name="Jonathan Vella" userId="ff59d9e4-9df8-4ae6-90e3-b837e2f6651b" providerId="ADAL" clId="{9A108D3A-79C6-4266-AA49-CCB7908C224E}" dt="2022-09-07T14:07:11.740" v="1208" actId="6549"/>
        <pc:sldMkLst>
          <pc:docMk/>
          <pc:sldMk cId="2663082499" sldId="2145705984"/>
        </pc:sldMkLst>
        <pc:spChg chg="mod">
          <ac:chgData name="Jonathan Vella" userId="ff59d9e4-9df8-4ae6-90e3-b837e2f6651b" providerId="ADAL" clId="{9A108D3A-79C6-4266-AA49-CCB7908C224E}" dt="2022-09-07T14:07:11.740" v="1208" actId="6549"/>
          <ac:spMkLst>
            <pc:docMk/>
            <pc:sldMk cId="2663082499" sldId="2145705984"/>
            <ac:spMk id="17" creationId="{6C888C00-E318-43FB-A80C-54A8EA42D2C3}"/>
          </ac:spMkLst>
        </pc:spChg>
      </pc:sldChg>
      <pc:sldChg chg="modSp add mod">
        <pc:chgData name="Jonathan Vella" userId="ff59d9e4-9df8-4ae6-90e3-b837e2f6651b" providerId="ADAL" clId="{9A108D3A-79C6-4266-AA49-CCB7908C224E}" dt="2022-09-07T09:52:34.558" v="348" actId="20577"/>
        <pc:sldMkLst>
          <pc:docMk/>
          <pc:sldMk cId="4068158549" sldId="2145705986"/>
        </pc:sldMkLst>
        <pc:spChg chg="mod">
          <ac:chgData name="Jonathan Vella" userId="ff59d9e4-9df8-4ae6-90e3-b837e2f6651b" providerId="ADAL" clId="{9A108D3A-79C6-4266-AA49-CCB7908C224E}" dt="2022-09-07T09:52:34.558" v="348" actId="20577"/>
          <ac:spMkLst>
            <pc:docMk/>
            <pc:sldMk cId="4068158549" sldId="2145705986"/>
            <ac:spMk id="2" creationId="{724AB9D4-D3CB-4BF0-AC58-148877A366A4}"/>
          </ac:spMkLst>
        </pc:spChg>
      </pc:sldChg>
      <pc:sldChg chg="del">
        <pc:chgData name="Jonathan Vella" userId="ff59d9e4-9df8-4ae6-90e3-b837e2f6651b" providerId="ADAL" clId="{9A108D3A-79C6-4266-AA49-CCB7908C224E}" dt="2022-09-07T10:37:21.966" v="548" actId="47"/>
        <pc:sldMkLst>
          <pc:docMk/>
          <pc:sldMk cId="2840895699" sldId="2147470346"/>
        </pc:sldMkLst>
      </pc:sldChg>
      <pc:sldChg chg="modSp del mod">
        <pc:chgData name="Jonathan Vella" userId="ff59d9e4-9df8-4ae6-90e3-b837e2f6651b" providerId="ADAL" clId="{9A108D3A-79C6-4266-AA49-CCB7908C224E}" dt="2022-09-07T10:37:21.966" v="548" actId="47"/>
        <pc:sldMkLst>
          <pc:docMk/>
          <pc:sldMk cId="3613171271" sldId="2147470347"/>
        </pc:sldMkLst>
        <pc:spChg chg="mod">
          <ac:chgData name="Jonathan Vella" userId="ff59d9e4-9df8-4ae6-90e3-b837e2f6651b" providerId="ADAL" clId="{9A108D3A-79C6-4266-AA49-CCB7908C224E}" dt="2022-09-07T10:31:00.899" v="523" actId="27636"/>
          <ac:spMkLst>
            <pc:docMk/>
            <pc:sldMk cId="3613171271" sldId="2147470347"/>
            <ac:spMk id="2" creationId="{BF0F5426-2F7C-4B3D-A64C-3988559278E0}"/>
          </ac:spMkLst>
        </pc:spChg>
      </pc:sldChg>
      <pc:sldChg chg="del">
        <pc:chgData name="Jonathan Vella" userId="ff59d9e4-9df8-4ae6-90e3-b837e2f6651b" providerId="ADAL" clId="{9A108D3A-79C6-4266-AA49-CCB7908C224E}" dt="2022-09-07T10:36:05.730" v="545" actId="47"/>
        <pc:sldMkLst>
          <pc:docMk/>
          <pc:sldMk cId="2006853138" sldId="2147470519"/>
        </pc:sldMkLst>
      </pc:sldChg>
      <pc:sldChg chg="del">
        <pc:chgData name="Jonathan Vella" userId="ff59d9e4-9df8-4ae6-90e3-b837e2f6651b" providerId="ADAL" clId="{9A108D3A-79C6-4266-AA49-CCB7908C224E}" dt="2022-09-07T10:32:01.313" v="527"/>
        <pc:sldMkLst>
          <pc:docMk/>
          <pc:sldMk cId="758992958" sldId="2147470520"/>
        </pc:sldMkLst>
      </pc:sldChg>
      <pc:sldChg chg="del">
        <pc:chgData name="Jonathan Vella" userId="ff59d9e4-9df8-4ae6-90e3-b837e2f6651b" providerId="ADAL" clId="{9A108D3A-79C6-4266-AA49-CCB7908C224E}" dt="2022-09-07T10:32:01.313" v="527"/>
        <pc:sldMkLst>
          <pc:docMk/>
          <pc:sldMk cId="1462757092" sldId="2147470521"/>
        </pc:sldMkLst>
      </pc:sldChg>
      <pc:sldChg chg="del">
        <pc:chgData name="Jonathan Vella" userId="ff59d9e4-9df8-4ae6-90e3-b837e2f6651b" providerId="ADAL" clId="{9A108D3A-79C6-4266-AA49-CCB7908C224E}" dt="2022-09-07T10:32:01.313" v="527"/>
        <pc:sldMkLst>
          <pc:docMk/>
          <pc:sldMk cId="2292099317" sldId="2147470522"/>
        </pc:sldMkLst>
      </pc:sldChg>
      <pc:sldChg chg="del">
        <pc:chgData name="Jonathan Vella" userId="ff59d9e4-9df8-4ae6-90e3-b837e2f6651b" providerId="ADAL" clId="{9A108D3A-79C6-4266-AA49-CCB7908C224E}" dt="2022-09-07T10:32:01.313" v="527"/>
        <pc:sldMkLst>
          <pc:docMk/>
          <pc:sldMk cId="3987249902" sldId="2147470523"/>
        </pc:sldMkLst>
      </pc:sldChg>
      <pc:sldChg chg="del">
        <pc:chgData name="Jonathan Vella" userId="ff59d9e4-9df8-4ae6-90e3-b837e2f6651b" providerId="ADAL" clId="{9A108D3A-79C6-4266-AA49-CCB7908C224E}" dt="2022-09-07T10:32:01.313" v="527"/>
        <pc:sldMkLst>
          <pc:docMk/>
          <pc:sldMk cId="588463657" sldId="2147470524"/>
        </pc:sldMkLst>
      </pc:sldChg>
      <pc:sldChg chg="del">
        <pc:chgData name="Jonathan Vella" userId="ff59d9e4-9df8-4ae6-90e3-b837e2f6651b" providerId="ADAL" clId="{9A108D3A-79C6-4266-AA49-CCB7908C224E}" dt="2022-09-07T10:32:01.313" v="527"/>
        <pc:sldMkLst>
          <pc:docMk/>
          <pc:sldMk cId="2580405773" sldId="2147470525"/>
        </pc:sldMkLst>
      </pc:sldChg>
      <pc:sldMasterChg chg="delSldLayout">
        <pc:chgData name="Jonathan Vella" userId="ff59d9e4-9df8-4ae6-90e3-b837e2f6651b" providerId="ADAL" clId="{9A108D3A-79C6-4266-AA49-CCB7908C224E}" dt="2022-09-07T10:37:21.966" v="548" actId="47"/>
        <pc:sldMasterMkLst>
          <pc:docMk/>
          <pc:sldMasterMk cId="1176172915" sldId="2147484031"/>
        </pc:sldMasterMkLst>
        <pc:sldLayoutChg chg="del">
          <pc:chgData name="Jonathan Vella" userId="ff59d9e4-9df8-4ae6-90e3-b837e2f6651b" providerId="ADAL" clId="{9A108D3A-79C6-4266-AA49-CCB7908C224E}" dt="2022-09-07T10:37:21.966" v="548" actId="47"/>
          <pc:sldLayoutMkLst>
            <pc:docMk/>
            <pc:sldMasterMk cId="1176172915" sldId="2147484031"/>
            <pc:sldLayoutMk cId="4105201295" sldId="2147484188"/>
          </pc:sldLayoutMkLst>
        </pc:sldLayoutChg>
        <pc:sldLayoutChg chg="del">
          <pc:chgData name="Jonathan Vella" userId="ff59d9e4-9df8-4ae6-90e3-b837e2f6651b" providerId="ADAL" clId="{9A108D3A-79C6-4266-AA49-CCB7908C224E}" dt="2022-09-07T10:36:05.730" v="545" actId="47"/>
          <pc:sldLayoutMkLst>
            <pc:docMk/>
            <pc:sldMasterMk cId="1176172915" sldId="2147484031"/>
            <pc:sldLayoutMk cId="1006240135" sldId="2147484189"/>
          </pc:sldLayoutMkLst>
        </pc:sldLayoutChg>
        <pc:sldLayoutChg chg="del">
          <pc:chgData name="Jonathan Vella" userId="ff59d9e4-9df8-4ae6-90e3-b837e2f6651b" providerId="ADAL" clId="{9A108D3A-79C6-4266-AA49-CCB7908C224E}" dt="2022-09-07T10:37:21.966" v="548" actId="47"/>
          <pc:sldLayoutMkLst>
            <pc:docMk/>
            <pc:sldMasterMk cId="1176172915" sldId="2147484031"/>
            <pc:sldLayoutMk cId="3880522949" sldId="2147484190"/>
          </pc:sldLayoutMkLst>
        </pc:sldLayoutChg>
      </pc:sldMasterChg>
    </pc:docChg>
  </pc:docChgLst>
  <pc:docChgLst>
    <pc:chgData name="Jonathan Vella" userId="ff59d9e4-9df8-4ae6-90e3-b837e2f6651b" providerId="ADAL" clId="{89D66AC9-A241-4986-9214-40F631F3C0E6}"/>
    <pc:docChg chg="modSld">
      <pc:chgData name="Jonathan Vella" userId="ff59d9e4-9df8-4ae6-90e3-b837e2f6651b" providerId="ADAL" clId="{89D66AC9-A241-4986-9214-40F631F3C0E6}" dt="2022-04-25T16:32:11.744" v="12" actId="6549"/>
      <pc:docMkLst>
        <pc:docMk/>
      </pc:docMkLst>
      <pc:sldChg chg="modSp mod">
        <pc:chgData name="Jonathan Vella" userId="ff59d9e4-9df8-4ae6-90e3-b837e2f6651b" providerId="ADAL" clId="{89D66AC9-A241-4986-9214-40F631F3C0E6}" dt="2022-04-25T16:32:11.744" v="12" actId="6549"/>
        <pc:sldMkLst>
          <pc:docMk/>
          <pc:sldMk cId="1995395958" sldId="2076137812"/>
        </pc:sldMkLst>
        <pc:spChg chg="mod">
          <ac:chgData name="Jonathan Vella" userId="ff59d9e4-9df8-4ae6-90e3-b837e2f6651b" providerId="ADAL" clId="{89D66AC9-A241-4986-9214-40F631F3C0E6}" dt="2022-04-25T16:32:11.744" v="12" actId="6549"/>
          <ac:spMkLst>
            <pc:docMk/>
            <pc:sldMk cId="1995395958" sldId="2076137812"/>
            <ac:spMk id="4"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10/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s may take slightly different routes, but the end-goal should be the same.</a:t>
            </a:r>
          </a:p>
          <a:p>
            <a:endParaRPr lang="en-US"/>
          </a:p>
          <a:p>
            <a:r>
              <a:rPr lang="en-US"/>
              <a:t>With the target end-state in mind, we recommend a common, unified approach to landing zone implementation.</a:t>
            </a:r>
          </a:p>
          <a:p>
            <a:endParaRPr lang="en-US"/>
          </a:p>
          <a:p>
            <a:pPr marL="171450" indent="-171450">
              <a:buFont typeface="Arial" panose="020B0604020202020204" pitchFamily="34" charset="0"/>
              <a:buChar char="•"/>
            </a:pPr>
            <a:r>
              <a:rPr lang="en-US"/>
              <a:t>Progressing to the target end-state [Azure landing zones conceptual architecture] </a:t>
            </a:r>
          </a:p>
          <a:p>
            <a:pPr marL="171450" indent="-171450">
              <a:buFont typeface="Arial" panose="020B0604020202020204" pitchFamily="34" charset="0"/>
              <a:buChar char="•"/>
            </a:pPr>
            <a:r>
              <a:rPr lang="en-US"/>
              <a:t>All the onramps lead to the same freeway (ALZ conceptual architecture)</a:t>
            </a:r>
          </a:p>
          <a:p>
            <a:pPr marL="171450" indent="-171450">
              <a:buFont typeface="Arial" panose="020B0604020202020204" pitchFamily="34" charset="0"/>
              <a:buChar char="•"/>
            </a:pPr>
            <a:r>
              <a:rPr lang="en-US"/>
              <a:t>Your chosen design areas will affect your end-result, whether Start (greenfield development), Align (brownfield development involving refactoring), or Enhance (adding new controls or features to your environment).</a:t>
            </a:r>
          </a:p>
          <a:p>
            <a:pPr marL="0" indent="0">
              <a:buFont typeface="Arial" panose="020B0604020202020204" pitchFamily="34" charset="0"/>
              <a:buNone/>
            </a:pPr>
            <a:endParaRPr lang="en-US"/>
          </a:p>
          <a:p>
            <a:r>
              <a:rPr lang="en-US"/>
              <a:t>Sometimes, organizations start down their own path – with a smaller subset of the design areas – and then look to bring their environment in closer alignment to the conceptual architecture.</a:t>
            </a:r>
          </a:p>
          <a:p>
            <a:r>
              <a:rPr lang="en-US"/>
              <a:t>This alignment drives towards the same outcome as if they’d taken one of the implementation options – and we’ll cover ALIGN a little later.</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2674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The Azure landing zones help you choose a direction for your overall Azure environment. But as an ISV, SaaS provider, or startup, your specific implementation needs might differ from more standard customer scenarios. The following are just a few different implementation scenario examples:</a:t>
            </a:r>
          </a:p>
          <a:p>
            <a:pPr algn="l">
              <a:buFont typeface="Arial" panose="020B0604020202020204" pitchFamily="34" charset="0"/>
              <a:buChar char="•"/>
            </a:pPr>
            <a:r>
              <a:rPr lang="en-US" b="0" i="0">
                <a:solidFill>
                  <a:srgbClr val="171717"/>
                </a:solidFill>
                <a:effectLst/>
                <a:latin typeface="Segoe UI" panose="020B0502040204020203" pitchFamily="34" charset="0"/>
              </a:rPr>
              <a:t>You build software that customers deploy into their own subscriptions.</a:t>
            </a:r>
          </a:p>
          <a:p>
            <a:pPr algn="l">
              <a:buFont typeface="Arial" panose="020B0604020202020204" pitchFamily="34" charset="0"/>
              <a:buChar char="•"/>
            </a:pPr>
            <a:r>
              <a:rPr lang="en-US" b="0" i="0">
                <a:solidFill>
                  <a:srgbClr val="171717"/>
                </a:solidFill>
                <a:effectLst/>
                <a:latin typeface="Segoe UI" panose="020B0502040204020203" pitchFamily="34" charset="0"/>
              </a:rPr>
              <a:t>You have your own </a:t>
            </a:r>
            <a:r>
              <a:rPr lang="en-US" b="0" i="1">
                <a:solidFill>
                  <a:srgbClr val="171717"/>
                </a:solidFill>
                <a:effectLst/>
                <a:latin typeface="Segoe UI" panose="020B0502040204020203" pitchFamily="34" charset="0"/>
              </a:rPr>
              <a:t>control plane</a:t>
            </a:r>
            <a:r>
              <a:rPr lang="en-US" b="0" i="0">
                <a:solidFill>
                  <a:srgbClr val="171717"/>
                </a:solidFill>
                <a:effectLst/>
                <a:latin typeface="Segoe UI" panose="020B0502040204020203" pitchFamily="34" charset="0"/>
              </a:rPr>
              <a:t> and use automation scripts or software to deploy and configure Azure resources for your SaaS solutions.</a:t>
            </a:r>
          </a:p>
          <a:p>
            <a:pPr algn="l">
              <a:buFont typeface="Arial" panose="020B0604020202020204" pitchFamily="34" charset="0"/>
              <a:buChar char="•"/>
            </a:pPr>
            <a:r>
              <a:rPr lang="en-US" b="0" i="0">
                <a:solidFill>
                  <a:srgbClr val="171717"/>
                </a:solidFill>
                <a:effectLst/>
                <a:latin typeface="Segoe UI" panose="020B0502040204020203" pitchFamily="34" charset="0"/>
              </a:rPr>
              <a:t>You're a small ISV or startup and want to start with the lowest possible cost, and might not want to initially use services like Azure Firewall and Azure DDoS Protection.</a:t>
            </a:r>
          </a:p>
          <a:p>
            <a:pPr algn="l">
              <a:buFont typeface="Arial" panose="020B0604020202020204" pitchFamily="34" charset="0"/>
              <a:buChar char="•"/>
            </a:pPr>
            <a:r>
              <a:rPr lang="en-US" b="0" i="0">
                <a:solidFill>
                  <a:srgbClr val="171717"/>
                </a:solidFill>
                <a:effectLst/>
                <a:latin typeface="Segoe UI" panose="020B0502040204020203" pitchFamily="34" charset="0"/>
              </a:rPr>
              <a:t>You're a large SaaS ISV and plan to split your SaaS application across multiple subscriptions for scale. You also want to group the subscriptions so they correspond to your development, test, staging, and production environments.</a:t>
            </a:r>
          </a:p>
          <a:p>
            <a:pPr algn="l">
              <a:buFont typeface="Arial" panose="020B0604020202020204" pitchFamily="34" charset="0"/>
              <a:buChar char="•"/>
            </a:pPr>
            <a:r>
              <a:rPr lang="en-US" b="0" i="0">
                <a:solidFill>
                  <a:srgbClr val="171717"/>
                </a:solidFill>
                <a:effectLst/>
                <a:latin typeface="Segoe UI" panose="020B0502040204020203" pitchFamily="34" charset="0"/>
              </a:rPr>
              <a:t>Your organization's operating model separates the roles of your corporate IT team and your SaaS product teams. Your organization's corporate IT team might manage resources like Microsoft Office 365 and Microsoft Teams, and your SaaS product team might be responsible for building and operating your SaaS product (including its central platform and identity component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014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In Azure Active Directory (Azure AD), part of Microsoft </a:t>
            </a:r>
            <a:r>
              <a:rPr lang="en-US" b="0" i="0" err="1">
                <a:solidFill>
                  <a:srgbClr val="171717"/>
                </a:solidFill>
                <a:effectLst/>
                <a:latin typeface="Segoe UI" panose="020B0502040204020203" pitchFamily="34" charset="0"/>
              </a:rPr>
              <a:t>Entra</a:t>
            </a:r>
            <a:r>
              <a:rPr lang="en-US" b="0" i="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a:solidFill>
                <a:srgbClr val="171717"/>
              </a:solidFill>
              <a:effectLst/>
              <a:latin typeface="Segoe UI" panose="020B0502040204020203" pitchFamily="34" charset="0"/>
            </a:endParaRPr>
          </a:p>
          <a:p>
            <a:pPr algn="l">
              <a:buFont typeface="Arial" panose="020B0604020202020204" pitchFamily="34" charset="0"/>
              <a:buChar char="•"/>
            </a:pPr>
            <a:r>
              <a:rPr lang="en-US" b="0" i="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Administrative independence</a:t>
            </a:r>
          </a:p>
          <a:p>
            <a:pPr algn="l"/>
            <a:r>
              <a:rPr lang="en-US" b="0" i="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94545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In Azure Active Directory (Azure AD), part of Microsoft </a:t>
            </a:r>
            <a:r>
              <a:rPr lang="en-US" b="0" i="0" err="1">
                <a:solidFill>
                  <a:srgbClr val="171717"/>
                </a:solidFill>
                <a:effectLst/>
                <a:latin typeface="Segoe UI" panose="020B0502040204020203" pitchFamily="34" charset="0"/>
              </a:rPr>
              <a:t>Entra</a:t>
            </a:r>
            <a:r>
              <a:rPr lang="en-US" b="0" i="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a:solidFill>
                <a:srgbClr val="171717"/>
              </a:solidFill>
              <a:effectLst/>
              <a:latin typeface="Segoe UI" panose="020B0502040204020203" pitchFamily="34" charset="0"/>
            </a:endParaRPr>
          </a:p>
          <a:p>
            <a:pPr algn="l">
              <a:buFont typeface="Arial" panose="020B0604020202020204" pitchFamily="34" charset="0"/>
              <a:buChar char="•"/>
            </a:pPr>
            <a:r>
              <a:rPr lang="en-US" b="0" i="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Administrative independence</a:t>
            </a:r>
          </a:p>
          <a:p>
            <a:pPr algn="l"/>
            <a:r>
              <a:rPr lang="en-US" b="0" i="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793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7229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8</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440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The Microsoft Cloud Adoption Framework aligns different phases of the cloud adoption lifecycle to ensure easy access to the right guidance at the right time. </a:t>
            </a:r>
          </a:p>
          <a:p>
            <a:endParaRPr lang="en-IN" sz="120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follows the strategy and planning works. It focusses on preparing cloud environment for the planned change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This is a key stage of the journey, as it represents the first technical implementation stage of the adoption. </a:t>
            </a:r>
          </a:p>
          <a:p>
            <a:pPr marL="0" lvl="0" indent="0">
              <a:buFont typeface="Arial" panose="020B0604020202020204" pitchFamily="34" charset="0"/>
              <a:buNone/>
            </a:pPr>
            <a:r>
              <a:rPr lang="en-IN" sz="1200" b="0" kern="1200" dirty="0">
                <a:solidFill>
                  <a:schemeClr val="tx1"/>
                </a:solidFill>
                <a:effectLst/>
                <a:latin typeface="+mn-lt"/>
                <a:ea typeface="+mn-ea"/>
                <a:cs typeface="+mn-cs"/>
              </a:rPr>
              <a:t>A strong starting point is crucial for a great outcome, so the core elements of the Ready methodology are key success factor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is also a jump-off point for several of the other methodologies, which rely on the strong start as fuel for their own succes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igrate: Migrate and modernize existing workloads on the cloud.</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Innovate: Develop new cloud-native or hybrid solutions.</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Govern: Govern the environment and workloads to ensure industry standards and regulatory requirements. </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anage: Conduct </a:t>
            </a:r>
            <a:r>
              <a:rPr lang="en-IN" sz="1200" kern="1200" dirty="0">
                <a:solidFill>
                  <a:schemeClr val="tx1"/>
                </a:solidFill>
                <a:effectLst/>
                <a:latin typeface="+mn-lt"/>
                <a:ea typeface="+mn-ea"/>
                <a:cs typeface="+mn-cs"/>
              </a:rPr>
              <a:t>operations management for cloud and hybrid solutions.</a:t>
            </a:r>
          </a:p>
          <a:p>
            <a:endParaRPr lang="en-IN" dirty="0"/>
          </a:p>
          <a:p>
            <a:r>
              <a:rPr lang="en-IN" dirty="0"/>
              <a:t>Let’s begin looking at what Azure landing zones a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131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1</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8949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5268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4</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7753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5943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9802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8</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0</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79824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3</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1821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44232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9737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6434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0893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9</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07893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56331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3498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3</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38323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landing zones focus on unifying technologies and technical guidance to help you build a successful cloud environment. </a:t>
            </a:r>
          </a:p>
          <a:p>
            <a:endParaRPr lang="en-US"/>
          </a:p>
          <a:p>
            <a:r>
              <a:rPr lang="en-US"/>
              <a:t>In general, Azure landing zones:</a:t>
            </a:r>
          </a:p>
          <a:p>
            <a:endParaRPr lang="en-US"/>
          </a:p>
          <a:p>
            <a:pPr marL="171450" indent="-171450">
              <a:buFont typeface="Arial" panose="020B0604020202020204" pitchFamily="34" charset="0"/>
              <a:buChar char="•"/>
            </a:pPr>
            <a:r>
              <a:rPr lang="en-US"/>
              <a:t>Offer repeatable packaged environments </a:t>
            </a:r>
          </a:p>
          <a:p>
            <a:pPr marL="171450" indent="-171450">
              <a:buFont typeface="Arial" panose="020B0604020202020204" pitchFamily="34" charset="0"/>
              <a:buChar char="•"/>
            </a:pPr>
            <a:r>
              <a:rPr lang="en-US"/>
              <a:t>Enable migrations and net new apps.	</a:t>
            </a:r>
          </a:p>
          <a:p>
            <a:pPr marL="171450" indent="-171450">
              <a:buFont typeface="Arial" panose="020B0604020202020204" pitchFamily="34" charset="0"/>
              <a:buChar char="•"/>
            </a:pPr>
            <a:r>
              <a:rPr lang="en-US"/>
              <a:t>Simplify the process of starting a cloud environment, to enable teams to focus on migration or innovation</a:t>
            </a:r>
          </a:p>
          <a:p>
            <a:endParaRPr lang="en-US"/>
          </a:p>
          <a:p>
            <a:r>
              <a:rPr lang="en-US"/>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a:solidFill>
                  <a:schemeClr val="tx1"/>
                </a:solidFill>
                <a:effectLst/>
                <a:latin typeface="Segoe UI" panose="020B0502040204020203" pitchFamily="34" charset="0"/>
                <a:ea typeface="+mn-ea"/>
                <a:cs typeface="+mn-cs"/>
              </a:rPr>
              <a:t>Just like organizing books in library (think of a book being a resource on a shelf in a cabinet in a room in the library) comes with set of principals (labelling, category).  ALZ comes with set of design principals, which are necessary for organizing resources in subscriptions. These are (read out the 5 principl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9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a:solidFill>
                  <a:schemeClr val="tx1"/>
                </a:solidFill>
                <a:effectLst/>
                <a:latin typeface="Segoe UI" panose="020B0502040204020203" pitchFamily="34" charset="0"/>
                <a:ea typeface="+mn-ea"/>
                <a:cs typeface="+mn-cs"/>
              </a:rPr>
              <a:t>I’ll cover these principles in more detail in the following slides.</a:t>
            </a:r>
          </a:p>
          <a:p>
            <a:pPr marL="228600" indent="-228600">
              <a:buFont typeface="+mj-lt"/>
              <a:buAutoNum type="arabicPeriod"/>
            </a:pPr>
            <a:endParaRPr lang="en-US" sz="900" b="0" i="0" kern="120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The ALZ architecture should </a:t>
            </a:r>
            <a:r>
              <a:rPr lang="en-US" sz="900" b="1" i="0" strike="sngStrike" kern="1200">
                <a:solidFill>
                  <a:schemeClr val="tx1"/>
                </a:solidFill>
                <a:effectLst/>
                <a:latin typeface="Segoe UI" panose="020B0502040204020203" pitchFamily="34" charset="0"/>
                <a:ea typeface="+mn-ea"/>
                <a:cs typeface="+mn-cs"/>
              </a:rPr>
              <a:t>NOT</a:t>
            </a:r>
            <a:r>
              <a:rPr lang="en-US" sz="900" b="0" i="0" strike="sngStrike" kern="120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strike="sngStrike" kern="1200" err="1">
                <a:solidFill>
                  <a:schemeClr val="tx1"/>
                </a:solidFill>
                <a:effectLst/>
                <a:latin typeface="Segoe UI" panose="020B0502040204020203" pitchFamily="34" charset="0"/>
                <a:ea typeface="+mn-ea"/>
                <a:cs typeface="+mn-cs"/>
              </a:rPr>
              <a:t>AppOps</a:t>
            </a:r>
            <a:r>
              <a:rPr lang="en-US" sz="900" b="0" i="0" strike="sngStrike" kern="120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strike="sngStrike">
                <a:latin typeface="Segoe UI"/>
                <a:cs typeface="Segoe UI"/>
              </a:rPr>
              <a:t>The ALZ architecture</a:t>
            </a:r>
            <a:r>
              <a:rPr lang="en-US" sz="900" b="0" i="0" strike="sngStrike" kern="120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strike="sngStrike" kern="1200">
                <a:solidFill>
                  <a:schemeClr val="tx1"/>
                </a:solidFill>
                <a:effectLst/>
                <a:latin typeface="Segoe UI"/>
                <a:cs typeface="Segoe UI"/>
              </a:rPr>
              <a:t>The</a:t>
            </a:r>
            <a:r>
              <a:rPr lang="en-US" sz="900" strike="sngStrike">
                <a:latin typeface="Segoe UI"/>
                <a:cs typeface="Segoe UI"/>
              </a:rPr>
              <a:t> ALZ</a:t>
            </a:r>
            <a:r>
              <a:rPr lang="en-US" sz="900" b="0" i="0" strike="sngStrike" kern="120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strike="sngStrike">
              <a:latin typeface="Segoe UI"/>
              <a:cs typeface="Segoe UI"/>
            </a:endParaRPr>
          </a:p>
          <a:p>
            <a:pPr marL="228600" indent="-228600">
              <a:buFont typeface="+mj-lt"/>
              <a:buAutoNum type="arabicPeriod"/>
            </a:pPr>
            <a:r>
              <a:rPr lang="en-US" sz="882" b="0" i="0" strike="sngStrike" kern="120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strike="sngStrike"/>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Azure landing zone conceptual architecture</a:t>
            </a:r>
          </a:p>
          <a:p>
            <a:endParaRPr lang="en-US" b="0"/>
          </a:p>
          <a:p>
            <a:r>
              <a:rPr lang="en-US" b="0"/>
              <a:t>The destination (or target end-state) of the journey.</a:t>
            </a:r>
            <a:endParaRPr lang="en-US" b="0">
              <a:cs typeface="Calibri"/>
            </a:endParaRPr>
          </a:p>
          <a:p>
            <a:endParaRPr lang="en-US" b="0"/>
          </a:p>
          <a:p>
            <a:r>
              <a:rPr lang="en-US" b="0"/>
              <a:t>Scaled-out controls and architecture to enable customers to grow and innovate safely</a:t>
            </a:r>
            <a:endParaRPr lang="en-US" b="0">
              <a:cs typeface="Calibri"/>
            </a:endParaRPr>
          </a:p>
          <a:p>
            <a:endParaRPr lang="en-US" b="0"/>
          </a:p>
          <a:p>
            <a:r>
              <a:rPr lang="en-US" b="0"/>
              <a:t>Depending on the cloud operating model chosen, you may arrive at this destination quickly, or over time. </a:t>
            </a:r>
          </a:p>
          <a:p>
            <a:r>
              <a:rPr lang="en-US" b="0"/>
              <a:t>This may represent a subset of your estate, if you scale into enterprise operations or distributed operations</a:t>
            </a:r>
          </a:p>
          <a:p>
            <a:endParaRPr lang="en-US" b="0">
              <a:cs typeface="Calibri"/>
            </a:endParaRPr>
          </a:p>
          <a:p>
            <a:r>
              <a:rPr lang="en-US" b="0">
                <a:cs typeface="Calibri"/>
              </a:rPr>
              <a:t>We are learning from engagements with customers and partners, codifying best practices guidance for the cloud adoption journey.</a:t>
            </a:r>
          </a:p>
          <a:p>
            <a:endParaRPr lang="en-US" b="0">
              <a:cs typeface="Calibri"/>
            </a:endParaRPr>
          </a:p>
          <a:p>
            <a:r>
              <a:rPr lang="en-US" b="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64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7.xml"/><Relationship Id="rId4" Type="http://schemas.openxmlformats.org/officeDocument/2006/relationships/image" Target="../media/image79.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7.xml"/><Relationship Id="rId4" Type="http://schemas.openxmlformats.org/officeDocument/2006/relationships/image" Target="../media/image9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8.xml"/><Relationship Id="rId4" Type="http://schemas.openxmlformats.org/officeDocument/2006/relationships/image" Target="../media/image94.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4" Type="http://schemas.openxmlformats.org/officeDocument/2006/relationships/image" Target="../media/image99.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108.e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7.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xml"/><Relationship Id="rId4" Type="http://schemas.openxmlformats.org/officeDocument/2006/relationships/image" Target="../media/image112.emf"/></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4" Type="http://schemas.openxmlformats.org/officeDocument/2006/relationships/image" Target="../media/image113.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3.xml"/><Relationship Id="rId4" Type="http://schemas.openxmlformats.org/officeDocument/2006/relationships/image" Target="../media/image79.jpe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15.jpeg"/><Relationship Id="rId1" Type="http://schemas.openxmlformats.org/officeDocument/2006/relationships/slideMaster" Target="../slideMasters/slideMaster13.xml"/><Relationship Id="rId4" Type="http://schemas.openxmlformats.org/officeDocument/2006/relationships/image" Target="../media/image90.jpeg"/></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4.xml"/><Relationship Id="rId4" Type="http://schemas.openxmlformats.org/officeDocument/2006/relationships/image" Target="../media/image5.png"/></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4.xml"/><Relationship Id="rId1" Type="http://schemas.openxmlformats.org/officeDocument/2006/relationships/tags" Target="../tags/tag8.xml"/><Relationship Id="rId4" Type="http://schemas.openxmlformats.org/officeDocument/2006/relationships/image" Target="../media/image3.emf"/></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4.xml"/><Relationship Id="rId1" Type="http://schemas.openxmlformats.org/officeDocument/2006/relationships/tags" Target="../tags/tag9.xml"/><Relationship Id="rId4" Type="http://schemas.openxmlformats.org/officeDocument/2006/relationships/image" Target="../media/image3.emf"/></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4.xml"/><Relationship Id="rId1" Type="http://schemas.openxmlformats.org/officeDocument/2006/relationships/tags" Target="../tags/tag14.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4.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4" Type="http://schemas.openxmlformats.org/officeDocument/2006/relationships/image" Target="../media/image113.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5.xml"/><Relationship Id="rId4" Type="http://schemas.openxmlformats.org/officeDocument/2006/relationships/image" Target="../media/image79.jpeg"/></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5.xml"/><Relationship Id="rId4" Type="http://schemas.openxmlformats.org/officeDocument/2006/relationships/image" Target="../media/image90.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3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27.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4.xml"/><Relationship Id="rId4" Type="http://schemas.openxmlformats.org/officeDocument/2006/relationships/image" Target="../media/image53.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4.xml"/><Relationship Id="rId4" Type="http://schemas.openxmlformats.org/officeDocument/2006/relationships/image" Target="../media/image57.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10/4/20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10/4/20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10/4/20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10/4/20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10/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10/4/20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0/4/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2187149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360047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spTree>
    <p:extLst>
      <p:ext uri="{BB962C8B-B14F-4D97-AF65-F5344CB8AC3E}">
        <p14:creationId xmlns:p14="http://schemas.microsoft.com/office/powerpoint/2010/main" val="20805643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1" y="2323341"/>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151351947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72126953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9" y="206107"/>
            <a:ext cx="5583404" cy="6409831"/>
          </a:xfrm>
          <a:prstGeom prst="rect">
            <a:avLst/>
          </a:prstGeom>
        </p:spPr>
      </p:pic>
    </p:spTree>
    <p:extLst>
      <p:ext uri="{BB962C8B-B14F-4D97-AF65-F5344CB8AC3E}">
        <p14:creationId xmlns:p14="http://schemas.microsoft.com/office/powerpoint/2010/main" val="192943358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4" y="321591"/>
            <a:ext cx="5413537" cy="6214821"/>
          </a:xfrm>
          <a:prstGeom prst="rect">
            <a:avLst/>
          </a:prstGeom>
        </p:spPr>
      </p:pic>
    </p:spTree>
    <p:extLst>
      <p:ext uri="{BB962C8B-B14F-4D97-AF65-F5344CB8AC3E}">
        <p14:creationId xmlns:p14="http://schemas.microsoft.com/office/powerpoint/2010/main" val="77434048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836769167"/>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3" y="0"/>
            <a:ext cx="6080099" cy="6858000"/>
          </a:xfrm>
          <a:prstGeom prst="rect">
            <a:avLst/>
          </a:prstGeom>
        </p:spPr>
      </p:pic>
    </p:spTree>
    <p:extLst>
      <p:ext uri="{BB962C8B-B14F-4D97-AF65-F5344CB8AC3E}">
        <p14:creationId xmlns:p14="http://schemas.microsoft.com/office/powerpoint/2010/main" val="107981696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4818310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24858623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14617158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5" y="1168945"/>
            <a:ext cx="547437" cy="3786998"/>
          </a:xfrm>
          <a:prstGeom prst="rect">
            <a:avLst/>
          </a:prstGeom>
        </p:spPr>
        <p:txBody>
          <a:bodyPr wrap="square" lIns="0" tIns="0" rIns="0" bIns="0">
            <a:noAutofit/>
          </a:bodyPr>
          <a:lstStyle>
            <a:lvl1pPr marL="0" indent="0" defTabSz="507136">
              <a:spcAft>
                <a:spcPts val="490"/>
              </a:spcAft>
              <a:buNone/>
              <a:defRPr sz="1765" spc="0" baseline="0">
                <a:solidFill>
                  <a:schemeClr val="tx2"/>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2" y="1168944"/>
            <a:ext cx="3290380" cy="3786998"/>
          </a:xfrm>
          <a:prstGeom prst="rect">
            <a:avLst/>
          </a:prstGeom>
        </p:spPr>
        <p:txBody>
          <a:bodyPr wrap="square" lIns="0" tIns="0" rIns="0" bIns="0">
            <a:noAutofit/>
          </a:bodyPr>
          <a:lstStyle>
            <a:lvl1pPr marL="0" indent="0" defTabSz="507136">
              <a:spcAft>
                <a:spcPts val="490"/>
              </a:spcAft>
              <a:buNone/>
              <a:defRPr sz="1765" spc="0" baseline="0">
                <a:solidFill>
                  <a:srgbClr val="000000"/>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8213262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021" indent="0">
              <a:buNone/>
              <a:defRPr/>
            </a:lvl3pPr>
            <a:lvl4pPr marL="672032" indent="0">
              <a:buNone/>
              <a:defRPr/>
            </a:lvl4pPr>
            <a:lvl5pPr marL="896042"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7" y="3015704"/>
            <a:ext cx="11306469" cy="216206"/>
          </a:xfrm>
          <a:prstGeom prst="rect">
            <a:avLst/>
          </a:prstGeom>
        </p:spPr>
        <p:txBody>
          <a:bodyPr lIns="0" tIns="0" rIns="0" bIns="0"/>
          <a:lstStyle>
            <a:lvl1pPr marL="0" indent="0">
              <a:lnSpc>
                <a:spcPts val="1765"/>
              </a:lnSpc>
              <a:spcBef>
                <a:spcPts val="0"/>
              </a:spcBef>
              <a:buNone/>
              <a:defRPr sz="1370" b="0" spc="0">
                <a:solidFill>
                  <a:schemeClr val="tx2"/>
                </a:solidFill>
                <a:latin typeface="+mj-lt"/>
              </a:defRPr>
            </a:lvl1pPr>
            <a:lvl2pPr marL="0" indent="0">
              <a:lnSpc>
                <a:spcPts val="1765"/>
              </a:lnSpc>
              <a:spcBef>
                <a:spcPts val="0"/>
              </a:spcBef>
              <a:buNone/>
              <a:defRPr sz="1370" spc="0">
                <a:solidFill>
                  <a:srgbClr val="000000"/>
                </a:solidFill>
              </a:defRPr>
            </a:lvl2pPr>
            <a:lvl3pPr marL="448021" indent="0">
              <a:buNone/>
              <a:defRPr/>
            </a:lvl3pPr>
            <a:lvl4pPr marL="672032" indent="0">
              <a:buNone/>
              <a:defRPr/>
            </a:lvl4pPr>
            <a:lvl5pPr marL="896042"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7" y="4503832"/>
            <a:ext cx="11306469" cy="150884"/>
          </a:xfrm>
          <a:prstGeom prst="rect">
            <a:avLst/>
          </a:prstGeo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21" indent="0">
              <a:buNone/>
              <a:defRPr/>
            </a:lvl3pPr>
            <a:lvl4pPr marL="672032"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1"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1"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Medium: body copy Segoe UI Regular 14/18</a:t>
            </a:r>
          </a:p>
        </p:txBody>
      </p:sp>
    </p:spTree>
    <p:extLst>
      <p:ext uri="{BB962C8B-B14F-4D97-AF65-F5344CB8AC3E}">
        <p14:creationId xmlns:p14="http://schemas.microsoft.com/office/powerpoint/2010/main" val="404793083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7" y="1922586"/>
            <a:ext cx="9384447" cy="3365537"/>
          </a:xfrm>
          <a:prstGeom prst="rect">
            <a:avLst/>
          </a:prstGeom>
        </p:spPr>
        <p:txBody>
          <a:bodyPr wrap="square" lIns="0" tIns="0" rIns="0" bIns="0">
            <a:spAutoFit/>
          </a:bodyPr>
          <a:lstStyle>
            <a:lvl1pPr marL="336015" marR="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01766767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8"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937957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7"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1"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131147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5"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4"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9" y="1599724"/>
            <a:ext cx="3609417" cy="3108047"/>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3"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5"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5590784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4"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7"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1"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6"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4335279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4819132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2802233813"/>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17078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1007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7" y="620430"/>
            <a:ext cx="5541959" cy="403137"/>
          </a:xfrm>
          <a:prstGeom prst="rect">
            <a:avLst/>
          </a:prstGeom>
        </p:spPr>
        <p:txBody>
          <a:bodyPr wrap="square" lIns="0" tIns="0" rIns="0" bIns="0">
            <a:spAutoFit/>
          </a:bodyPr>
          <a:lstStyle>
            <a:lvl1pPr>
              <a:lnSpc>
                <a:spcPts val="3135"/>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4"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7" y="2576677"/>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6"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045245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1"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2"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1"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10"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1"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1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6605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3224162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2"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7950842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419917267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a:prstGeom prst="rect">
            <a:avLst/>
          </a:prstGeom>
        </p:spPr>
        <p:txBody>
          <a:bodyPr lIns="0" tIns="0" rIns="0" bIns="0"/>
          <a:lstStyle>
            <a:lvl1pPr marL="0" indent="0">
              <a:lnSpc>
                <a:spcPts val="1174"/>
              </a:lnSpc>
              <a:spcBef>
                <a:spcPts val="882"/>
              </a:spcBef>
              <a:buFont typeface="Arial" panose="020B0604020202020204" pitchFamily="34" charset="0"/>
              <a:buNone/>
              <a:defRPr sz="980" b="0" i="0" spc="0">
                <a:solidFill>
                  <a:srgbClr val="000000"/>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5870438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6629117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solidFill>
                <a:srgbClr val="3C3B41"/>
              </a:soli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784652" y="3933603"/>
            <a:ext cx="7116725" cy="2006453"/>
          </a:xfrm>
        </p:spPr>
        <p:txBody>
          <a:bodyPr anchor="t" anchorCtr="0">
            <a:noAutofit/>
          </a:bodyPr>
          <a:lstStyle>
            <a:lvl1pPr marL="0" indent="0">
              <a:spcAft>
                <a:spcPts val="1200"/>
              </a:spcAft>
              <a:buNone/>
              <a:defRPr sz="2000">
                <a:latin typeface="+mn-lt"/>
              </a:defRPr>
            </a:lvl1pPr>
            <a:lvl2pPr marL="228512"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2475336"/>
            <a:ext cx="3671849" cy="543185"/>
          </a:xfrm>
        </p:spPr>
        <p:txBody>
          <a:bodyPr anchor="t"/>
          <a:lstStyle>
            <a:lvl1pPr>
              <a:defRPr>
                <a:solidFill>
                  <a:schemeClr val="tx2"/>
                </a:solidFill>
              </a:defRPr>
            </a:lvl1pPr>
          </a:lstStyle>
          <a:p>
            <a:r>
              <a:rPr lang="en-US"/>
              <a:t>Title</a:t>
            </a:r>
          </a:p>
        </p:txBody>
      </p:sp>
      <p:sp>
        <p:nvSpPr>
          <p:cNvPr id="6" name="Text Placeholder 6">
            <a:extLst>
              <a:ext uri="{FF2B5EF4-FFF2-40B4-BE49-F238E27FC236}">
                <a16:creationId xmlns:a16="http://schemas.microsoft.com/office/drawing/2014/main" id="{FC4E6403-1510-4189-B264-7A2CFE825C7B}"/>
              </a:ext>
            </a:extLst>
          </p:cNvPr>
          <p:cNvSpPr>
            <a:spLocks noGrp="1"/>
          </p:cNvSpPr>
          <p:nvPr>
            <p:ph type="body" sz="quarter" idx="11"/>
          </p:nvPr>
        </p:nvSpPr>
        <p:spPr>
          <a:xfrm>
            <a:off x="609601" y="3933603"/>
            <a:ext cx="3643423" cy="492443"/>
          </a:xfrm>
        </p:spPr>
        <p:txBody>
          <a:bodyPr anchor="t" anchorCtr="0">
            <a:noAutofit/>
          </a:bodyPr>
          <a:lstStyle>
            <a:lvl1pPr marL="0" indent="0">
              <a:spcAft>
                <a:spcPts val="1200"/>
              </a:spcAft>
              <a:buNone/>
              <a:defRPr sz="2000">
                <a:latin typeface="+mj-lt"/>
              </a:defRPr>
            </a:lvl1pPr>
            <a:lvl2pPr marL="228512" indent="0">
              <a:buNone/>
              <a:defRPr/>
            </a:lvl2pPr>
          </a:lstStyle>
          <a:p>
            <a:pPr lvl="0"/>
            <a:r>
              <a:rPr lang="en-US"/>
              <a:t>Click to edit Master text styles</a:t>
            </a:r>
          </a:p>
        </p:txBody>
      </p:sp>
    </p:spTree>
    <p:extLst>
      <p:ext uri="{BB962C8B-B14F-4D97-AF65-F5344CB8AC3E}">
        <p14:creationId xmlns:p14="http://schemas.microsoft.com/office/powerpoint/2010/main" val="3487630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000">
          <p15:clr>
            <a:srgbClr val="5ACBF0"/>
          </p15:clr>
        </p15:guide>
        <p15:guide id="29" orient="horz" pos="2160">
          <p15:clr>
            <a:srgbClr val="FDE53C"/>
          </p15:clr>
        </p15:guide>
        <p15:guide id="30" pos="2376">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28718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Tree>
    <p:extLst>
      <p:ext uri="{BB962C8B-B14F-4D97-AF65-F5344CB8AC3E}">
        <p14:creationId xmlns:p14="http://schemas.microsoft.com/office/powerpoint/2010/main" val="330452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296783"/>
          </a:xfrm>
          <a:prstGeom prst="rect">
            <a:avLst/>
          </a:prstGeom>
        </p:spPr>
        <p:txBody>
          <a:bodyPr/>
          <a:lstStyle>
            <a:lvl1pPr marL="284683" indent="-28468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3" indent="-27535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16" indent="-28468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31" indent="-2240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43" indent="-2240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3280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21617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9163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95550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27537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3161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04479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06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90974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477018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374104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4068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638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606890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58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986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13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140075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8655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16914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4765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435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87918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24075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1962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126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7170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4135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5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8665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230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2028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2227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64671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3" name="Title 72">
            <a:extLst>
              <a:ext uri="{FF2B5EF4-FFF2-40B4-BE49-F238E27FC236}">
                <a16:creationId xmlns:a16="http://schemas.microsoft.com/office/drawing/2014/main" id="{A5BC881A-B704-4B56-BC20-7D198460FBBC}"/>
              </a:ext>
            </a:extLst>
          </p:cNvPr>
          <p:cNvSpPr>
            <a:spLocks noGrp="1"/>
          </p:cNvSpPr>
          <p:nvPr>
            <p:ph type="title"/>
          </p:nvPr>
        </p:nvSpPr>
        <p:spPr>
          <a:xfrm>
            <a:off x="239581" y="292132"/>
            <a:ext cx="11018520" cy="5539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DE0FC30-5499-42BB-8B84-F57D783A3BF2}"/>
              </a:ext>
            </a:extLst>
          </p:cNvPr>
          <p:cNvSpPr>
            <a:spLocks noGrp="1"/>
          </p:cNvSpPr>
          <p:nvPr>
            <p:ph sz="quarter" idx="10"/>
          </p:nvPr>
        </p:nvSpPr>
        <p:spPr>
          <a:xfrm>
            <a:off x="239581" y="5546713"/>
            <a:ext cx="1292225"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02C17500-0AC2-419E-8C83-D8D9D456F965}"/>
              </a:ext>
            </a:extLst>
          </p:cNvPr>
          <p:cNvSpPr>
            <a:spLocks noGrp="1"/>
          </p:cNvSpPr>
          <p:nvPr>
            <p:ph sz="quarter" idx="11"/>
          </p:nvPr>
        </p:nvSpPr>
        <p:spPr>
          <a:xfrm>
            <a:off x="1748623" y="5546713"/>
            <a:ext cx="1292225"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9DF397F8-EB43-4699-A793-976B2A474886}"/>
              </a:ext>
            </a:extLst>
          </p:cNvPr>
          <p:cNvSpPr>
            <a:spLocks noGrp="1"/>
          </p:cNvSpPr>
          <p:nvPr>
            <p:ph sz="quarter" idx="12"/>
          </p:nvPr>
        </p:nvSpPr>
        <p:spPr>
          <a:xfrm>
            <a:off x="239581" y="5981918"/>
            <a:ext cx="1292225"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DD16740D-7992-4F80-A32B-F09F04410146}"/>
              </a:ext>
            </a:extLst>
          </p:cNvPr>
          <p:cNvSpPr>
            <a:spLocks noGrp="1"/>
          </p:cNvSpPr>
          <p:nvPr>
            <p:ph sz="quarter" idx="13"/>
          </p:nvPr>
        </p:nvSpPr>
        <p:spPr>
          <a:xfrm>
            <a:off x="1876327" y="5915017"/>
            <a:ext cx="1292225"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F48B4960-96A9-4916-9FCE-C78E76C060F4}"/>
              </a:ext>
            </a:extLst>
          </p:cNvPr>
          <p:cNvSpPr>
            <a:spLocks noGrp="1"/>
          </p:cNvSpPr>
          <p:nvPr>
            <p:ph sz="quarter" idx="14"/>
          </p:nvPr>
        </p:nvSpPr>
        <p:spPr>
          <a:xfrm>
            <a:off x="263525" y="1049798"/>
            <a:ext cx="1292225"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01E64F05-760E-441D-A0D2-33F4BECF6EF5}"/>
              </a:ext>
            </a:extLst>
          </p:cNvPr>
          <p:cNvSpPr>
            <a:spLocks noGrp="1"/>
          </p:cNvSpPr>
          <p:nvPr>
            <p:ph sz="quarter" idx="15"/>
          </p:nvPr>
        </p:nvSpPr>
        <p:spPr>
          <a:xfrm>
            <a:off x="1772567" y="1049798"/>
            <a:ext cx="1292225"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6787717D-7734-4C1C-964A-7F7C64FA59CD}"/>
              </a:ext>
            </a:extLst>
          </p:cNvPr>
          <p:cNvSpPr>
            <a:spLocks noGrp="1"/>
          </p:cNvSpPr>
          <p:nvPr>
            <p:ph sz="quarter" idx="16"/>
          </p:nvPr>
        </p:nvSpPr>
        <p:spPr>
          <a:xfrm>
            <a:off x="263525" y="1485003"/>
            <a:ext cx="1292225"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62C96180-8844-4495-88BC-D6FE9EA74724}"/>
              </a:ext>
            </a:extLst>
          </p:cNvPr>
          <p:cNvSpPr>
            <a:spLocks noGrp="1"/>
          </p:cNvSpPr>
          <p:nvPr>
            <p:ph sz="quarter" idx="17"/>
          </p:nvPr>
        </p:nvSpPr>
        <p:spPr>
          <a:xfrm>
            <a:off x="1772567" y="1485003"/>
            <a:ext cx="1292225"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09D107CE-5F6B-41C1-B5E5-D56E33B3ACAD}"/>
              </a:ext>
            </a:extLst>
          </p:cNvPr>
          <p:cNvSpPr>
            <a:spLocks noGrp="1"/>
          </p:cNvSpPr>
          <p:nvPr>
            <p:ph sz="quarter" idx="18"/>
          </p:nvPr>
        </p:nvSpPr>
        <p:spPr>
          <a:xfrm>
            <a:off x="263525" y="1874925"/>
            <a:ext cx="1292225"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BF0E17AD-300F-44F7-824E-81D9990E4C5A}"/>
              </a:ext>
            </a:extLst>
          </p:cNvPr>
          <p:cNvSpPr>
            <a:spLocks noGrp="1"/>
          </p:cNvSpPr>
          <p:nvPr>
            <p:ph sz="quarter" idx="19"/>
          </p:nvPr>
        </p:nvSpPr>
        <p:spPr>
          <a:xfrm>
            <a:off x="1772567" y="1874925"/>
            <a:ext cx="1292225" cy="153888"/>
          </a:xfrm>
        </p:spPr>
        <p:txBody>
          <a:bodyPr/>
          <a:lstStyle>
            <a:lvl1pPr marL="0" indent="0">
              <a:buNone/>
              <a:defRPr sz="1000"/>
            </a:lvl1pPr>
          </a:lstStyle>
          <a:p>
            <a:pPr lvl="0"/>
            <a:endParaRPr lang="en-US"/>
          </a:p>
        </p:txBody>
      </p:sp>
      <p:sp>
        <p:nvSpPr>
          <p:cNvPr id="13" name="Content Placeholder 2">
            <a:extLst>
              <a:ext uri="{FF2B5EF4-FFF2-40B4-BE49-F238E27FC236}">
                <a16:creationId xmlns:a16="http://schemas.microsoft.com/office/drawing/2014/main" id="{6B254F10-E6C9-46EE-8FB5-E97725703DDE}"/>
              </a:ext>
            </a:extLst>
          </p:cNvPr>
          <p:cNvSpPr>
            <a:spLocks noGrp="1"/>
          </p:cNvSpPr>
          <p:nvPr>
            <p:ph sz="quarter" idx="20"/>
          </p:nvPr>
        </p:nvSpPr>
        <p:spPr>
          <a:xfrm>
            <a:off x="3222743" y="4611446"/>
            <a:ext cx="1292225" cy="153888"/>
          </a:xfrm>
        </p:spPr>
        <p:txBody>
          <a:bodyPr/>
          <a:lstStyle>
            <a:lvl1pPr marL="0" indent="0">
              <a:buNone/>
              <a:defRPr sz="1000"/>
            </a:lvl1pPr>
          </a:lstStyle>
          <a:p>
            <a:pPr lvl="0"/>
            <a:endParaRPr lang="en-US"/>
          </a:p>
        </p:txBody>
      </p:sp>
      <p:sp>
        <p:nvSpPr>
          <p:cNvPr id="14" name="Content Placeholder 2">
            <a:extLst>
              <a:ext uri="{FF2B5EF4-FFF2-40B4-BE49-F238E27FC236}">
                <a16:creationId xmlns:a16="http://schemas.microsoft.com/office/drawing/2014/main" id="{AA8B4269-5055-48CB-BDC4-9A7504E392A7}"/>
              </a:ext>
            </a:extLst>
          </p:cNvPr>
          <p:cNvSpPr>
            <a:spLocks noGrp="1"/>
          </p:cNvSpPr>
          <p:nvPr>
            <p:ph sz="quarter" idx="21"/>
          </p:nvPr>
        </p:nvSpPr>
        <p:spPr>
          <a:xfrm>
            <a:off x="4731785" y="4611446"/>
            <a:ext cx="1292225" cy="153888"/>
          </a:xfrm>
        </p:spPr>
        <p:txBody>
          <a:bodyPr/>
          <a:lstStyle>
            <a:lvl1pPr marL="0" indent="0">
              <a:buNone/>
              <a:defRPr sz="1000"/>
            </a:lvl1pPr>
          </a:lstStyle>
          <a:p>
            <a:pPr lvl="0"/>
            <a:endParaRPr lang="en-US"/>
          </a:p>
        </p:txBody>
      </p:sp>
      <p:sp>
        <p:nvSpPr>
          <p:cNvPr id="15" name="Content Placeholder 2">
            <a:extLst>
              <a:ext uri="{FF2B5EF4-FFF2-40B4-BE49-F238E27FC236}">
                <a16:creationId xmlns:a16="http://schemas.microsoft.com/office/drawing/2014/main" id="{5C33C7D6-45E9-4D6E-AF86-4452368C402A}"/>
              </a:ext>
            </a:extLst>
          </p:cNvPr>
          <p:cNvSpPr>
            <a:spLocks noGrp="1"/>
          </p:cNvSpPr>
          <p:nvPr>
            <p:ph sz="quarter" idx="22"/>
          </p:nvPr>
        </p:nvSpPr>
        <p:spPr>
          <a:xfrm>
            <a:off x="3350447" y="4979750"/>
            <a:ext cx="1292225" cy="153888"/>
          </a:xfrm>
        </p:spPr>
        <p:txBody>
          <a:bodyPr/>
          <a:lstStyle>
            <a:lvl1pPr marL="0" indent="0">
              <a:buNone/>
              <a:defRPr sz="1000"/>
            </a:lvl1pPr>
          </a:lstStyle>
          <a:p>
            <a:pPr lvl="0"/>
            <a:endParaRPr lang="en-US"/>
          </a:p>
        </p:txBody>
      </p:sp>
      <p:sp>
        <p:nvSpPr>
          <p:cNvPr id="16" name="Content Placeholder 2">
            <a:extLst>
              <a:ext uri="{FF2B5EF4-FFF2-40B4-BE49-F238E27FC236}">
                <a16:creationId xmlns:a16="http://schemas.microsoft.com/office/drawing/2014/main" id="{72DFB3CD-77D5-4971-A7C9-5ACBCDBA78F3}"/>
              </a:ext>
            </a:extLst>
          </p:cNvPr>
          <p:cNvSpPr>
            <a:spLocks noGrp="1"/>
          </p:cNvSpPr>
          <p:nvPr>
            <p:ph sz="quarter" idx="23"/>
          </p:nvPr>
        </p:nvSpPr>
        <p:spPr>
          <a:xfrm>
            <a:off x="4859489" y="4979750"/>
            <a:ext cx="1292225" cy="153888"/>
          </a:xfrm>
        </p:spPr>
        <p:txBody>
          <a:bodyPr/>
          <a:lstStyle>
            <a:lvl1pPr marL="0" indent="0">
              <a:buNone/>
              <a:defRPr sz="1000"/>
            </a:lvl1pPr>
          </a:lstStyle>
          <a:p>
            <a:pPr lvl="0"/>
            <a:endParaRPr lang="en-US"/>
          </a:p>
        </p:txBody>
      </p:sp>
      <p:sp>
        <p:nvSpPr>
          <p:cNvPr id="17" name="Content Placeholder 2">
            <a:extLst>
              <a:ext uri="{FF2B5EF4-FFF2-40B4-BE49-F238E27FC236}">
                <a16:creationId xmlns:a16="http://schemas.microsoft.com/office/drawing/2014/main" id="{EE824A5F-9222-47CC-B984-33E76606737F}"/>
              </a:ext>
            </a:extLst>
          </p:cNvPr>
          <p:cNvSpPr>
            <a:spLocks noGrp="1"/>
          </p:cNvSpPr>
          <p:nvPr>
            <p:ph sz="quarter" idx="24"/>
          </p:nvPr>
        </p:nvSpPr>
        <p:spPr>
          <a:xfrm>
            <a:off x="3294733" y="1049798"/>
            <a:ext cx="1292225" cy="153888"/>
          </a:xfrm>
        </p:spPr>
        <p:txBody>
          <a:bodyPr/>
          <a:lstStyle>
            <a:lvl1pPr marL="0" indent="0">
              <a:buNone/>
              <a:defRPr sz="1000"/>
            </a:lvl1pPr>
          </a:lstStyle>
          <a:p>
            <a:pPr lvl="0"/>
            <a:endParaRPr lang="en-US"/>
          </a:p>
        </p:txBody>
      </p:sp>
      <p:sp>
        <p:nvSpPr>
          <p:cNvPr id="18" name="Content Placeholder 2">
            <a:extLst>
              <a:ext uri="{FF2B5EF4-FFF2-40B4-BE49-F238E27FC236}">
                <a16:creationId xmlns:a16="http://schemas.microsoft.com/office/drawing/2014/main" id="{312D1326-CE31-4F9F-86AF-79063A209FEF}"/>
              </a:ext>
            </a:extLst>
          </p:cNvPr>
          <p:cNvSpPr>
            <a:spLocks noGrp="1"/>
          </p:cNvSpPr>
          <p:nvPr>
            <p:ph sz="quarter" idx="25"/>
          </p:nvPr>
        </p:nvSpPr>
        <p:spPr>
          <a:xfrm>
            <a:off x="4803775" y="1049798"/>
            <a:ext cx="1292225" cy="153888"/>
          </a:xfrm>
        </p:spPr>
        <p:txBody>
          <a:bodyPr/>
          <a:lstStyle>
            <a:lvl1pPr marL="0" indent="0">
              <a:buNone/>
              <a:defRPr sz="1000"/>
            </a:lvl1pPr>
          </a:lstStyle>
          <a:p>
            <a:pPr lvl="0"/>
            <a:endParaRPr lang="en-US"/>
          </a:p>
        </p:txBody>
      </p:sp>
      <p:sp>
        <p:nvSpPr>
          <p:cNvPr id="19" name="Content Placeholder 2">
            <a:extLst>
              <a:ext uri="{FF2B5EF4-FFF2-40B4-BE49-F238E27FC236}">
                <a16:creationId xmlns:a16="http://schemas.microsoft.com/office/drawing/2014/main" id="{5464E87E-4C92-458F-9A0E-7E7AE4395A2C}"/>
              </a:ext>
            </a:extLst>
          </p:cNvPr>
          <p:cNvSpPr>
            <a:spLocks noGrp="1"/>
          </p:cNvSpPr>
          <p:nvPr>
            <p:ph sz="quarter" idx="26"/>
          </p:nvPr>
        </p:nvSpPr>
        <p:spPr>
          <a:xfrm>
            <a:off x="3294733" y="1485003"/>
            <a:ext cx="1292225" cy="153888"/>
          </a:xfrm>
        </p:spPr>
        <p:txBody>
          <a:bodyPr/>
          <a:lstStyle>
            <a:lvl1pPr marL="0" indent="0">
              <a:buNone/>
              <a:defRPr sz="1000"/>
            </a:lvl1pPr>
          </a:lstStyle>
          <a:p>
            <a:pPr lvl="0"/>
            <a:endParaRPr lang="en-US"/>
          </a:p>
        </p:txBody>
      </p:sp>
      <p:sp>
        <p:nvSpPr>
          <p:cNvPr id="20" name="Content Placeholder 2">
            <a:extLst>
              <a:ext uri="{FF2B5EF4-FFF2-40B4-BE49-F238E27FC236}">
                <a16:creationId xmlns:a16="http://schemas.microsoft.com/office/drawing/2014/main" id="{887DD115-8B8D-4333-9C50-30AAF07ABCFC}"/>
              </a:ext>
            </a:extLst>
          </p:cNvPr>
          <p:cNvSpPr>
            <a:spLocks noGrp="1"/>
          </p:cNvSpPr>
          <p:nvPr>
            <p:ph sz="quarter" idx="27"/>
          </p:nvPr>
        </p:nvSpPr>
        <p:spPr>
          <a:xfrm>
            <a:off x="4803775" y="1485003"/>
            <a:ext cx="1292225" cy="153888"/>
          </a:xfrm>
        </p:spPr>
        <p:txBody>
          <a:bodyPr/>
          <a:lstStyle>
            <a:lvl1pPr marL="0" indent="0">
              <a:buNone/>
              <a:defRPr sz="1000"/>
            </a:lvl1pPr>
          </a:lstStyle>
          <a:p>
            <a:pPr lvl="0"/>
            <a:endParaRPr lang="en-US"/>
          </a:p>
        </p:txBody>
      </p:sp>
      <p:sp>
        <p:nvSpPr>
          <p:cNvPr id="21" name="Content Placeholder 2">
            <a:extLst>
              <a:ext uri="{FF2B5EF4-FFF2-40B4-BE49-F238E27FC236}">
                <a16:creationId xmlns:a16="http://schemas.microsoft.com/office/drawing/2014/main" id="{1C8B9170-CEBB-4E0D-9FB8-4FF18452634A}"/>
              </a:ext>
            </a:extLst>
          </p:cNvPr>
          <p:cNvSpPr>
            <a:spLocks noGrp="1"/>
          </p:cNvSpPr>
          <p:nvPr>
            <p:ph sz="quarter" idx="28"/>
          </p:nvPr>
        </p:nvSpPr>
        <p:spPr>
          <a:xfrm>
            <a:off x="3294733" y="1874925"/>
            <a:ext cx="1292225" cy="153888"/>
          </a:xfrm>
        </p:spPr>
        <p:txBody>
          <a:bodyPr/>
          <a:lstStyle>
            <a:lvl1pPr marL="0" indent="0">
              <a:buNone/>
              <a:defRPr sz="1000"/>
            </a:lvl1pPr>
          </a:lstStyle>
          <a:p>
            <a:pPr lvl="0"/>
            <a:endParaRPr lang="en-US"/>
          </a:p>
        </p:txBody>
      </p:sp>
      <p:sp>
        <p:nvSpPr>
          <p:cNvPr id="22" name="Content Placeholder 2">
            <a:extLst>
              <a:ext uri="{FF2B5EF4-FFF2-40B4-BE49-F238E27FC236}">
                <a16:creationId xmlns:a16="http://schemas.microsoft.com/office/drawing/2014/main" id="{EF326C2C-5E63-47E2-AD6B-BD2558AB9D88}"/>
              </a:ext>
            </a:extLst>
          </p:cNvPr>
          <p:cNvSpPr>
            <a:spLocks noGrp="1"/>
          </p:cNvSpPr>
          <p:nvPr>
            <p:ph sz="quarter" idx="29"/>
          </p:nvPr>
        </p:nvSpPr>
        <p:spPr>
          <a:xfrm>
            <a:off x="4803775" y="1874925"/>
            <a:ext cx="1292225" cy="153888"/>
          </a:xfrm>
        </p:spPr>
        <p:txBody>
          <a:bodyPr/>
          <a:lstStyle>
            <a:lvl1pPr marL="0" indent="0">
              <a:buNone/>
              <a:defRPr sz="1000"/>
            </a:lvl1pPr>
          </a:lstStyle>
          <a:p>
            <a:pPr lvl="0"/>
            <a:endParaRPr lang="en-US"/>
          </a:p>
        </p:txBody>
      </p:sp>
      <p:sp>
        <p:nvSpPr>
          <p:cNvPr id="23" name="Content Placeholder 2">
            <a:extLst>
              <a:ext uri="{FF2B5EF4-FFF2-40B4-BE49-F238E27FC236}">
                <a16:creationId xmlns:a16="http://schemas.microsoft.com/office/drawing/2014/main" id="{58BB997E-F036-4E31-AA76-E89C6F767662}"/>
              </a:ext>
            </a:extLst>
          </p:cNvPr>
          <p:cNvSpPr>
            <a:spLocks noGrp="1"/>
          </p:cNvSpPr>
          <p:nvPr>
            <p:ph sz="quarter" idx="30"/>
          </p:nvPr>
        </p:nvSpPr>
        <p:spPr>
          <a:xfrm>
            <a:off x="6253953" y="4611446"/>
            <a:ext cx="1292225" cy="153888"/>
          </a:xfrm>
        </p:spPr>
        <p:txBody>
          <a:bodyPr/>
          <a:lstStyle>
            <a:lvl1pPr marL="0" indent="0">
              <a:buNone/>
              <a:defRPr sz="1000"/>
            </a:lvl1pPr>
          </a:lstStyle>
          <a:p>
            <a:pPr lvl="0"/>
            <a:endParaRPr lang="en-US"/>
          </a:p>
        </p:txBody>
      </p:sp>
      <p:sp>
        <p:nvSpPr>
          <p:cNvPr id="24" name="Content Placeholder 2">
            <a:extLst>
              <a:ext uri="{FF2B5EF4-FFF2-40B4-BE49-F238E27FC236}">
                <a16:creationId xmlns:a16="http://schemas.microsoft.com/office/drawing/2014/main" id="{B69C9F7F-BAB9-4155-B59A-08EC1E94C192}"/>
              </a:ext>
            </a:extLst>
          </p:cNvPr>
          <p:cNvSpPr>
            <a:spLocks noGrp="1"/>
          </p:cNvSpPr>
          <p:nvPr>
            <p:ph sz="quarter" idx="31"/>
          </p:nvPr>
        </p:nvSpPr>
        <p:spPr>
          <a:xfrm>
            <a:off x="7762995" y="4611446"/>
            <a:ext cx="1292225" cy="153888"/>
          </a:xfrm>
        </p:spPr>
        <p:txBody>
          <a:bodyPr/>
          <a:lstStyle>
            <a:lvl1pPr marL="0" indent="0">
              <a:buNone/>
              <a:defRPr sz="1000"/>
            </a:lvl1pPr>
          </a:lstStyle>
          <a:p>
            <a:pPr lvl="0"/>
            <a:endParaRPr lang="en-US"/>
          </a:p>
        </p:txBody>
      </p:sp>
      <p:sp>
        <p:nvSpPr>
          <p:cNvPr id="25" name="Content Placeholder 2">
            <a:extLst>
              <a:ext uri="{FF2B5EF4-FFF2-40B4-BE49-F238E27FC236}">
                <a16:creationId xmlns:a16="http://schemas.microsoft.com/office/drawing/2014/main" id="{2F356270-9FAB-4623-84F3-DE99EAAF5F93}"/>
              </a:ext>
            </a:extLst>
          </p:cNvPr>
          <p:cNvSpPr>
            <a:spLocks noGrp="1"/>
          </p:cNvSpPr>
          <p:nvPr>
            <p:ph sz="quarter" idx="32"/>
          </p:nvPr>
        </p:nvSpPr>
        <p:spPr>
          <a:xfrm>
            <a:off x="6381657" y="4979750"/>
            <a:ext cx="1292225" cy="153888"/>
          </a:xfrm>
        </p:spPr>
        <p:txBody>
          <a:bodyPr/>
          <a:lstStyle>
            <a:lvl1pPr marL="0" indent="0">
              <a:buNone/>
              <a:defRPr sz="1000"/>
            </a:lvl1pPr>
          </a:lstStyle>
          <a:p>
            <a:pPr lvl="0"/>
            <a:endParaRPr lang="en-US"/>
          </a:p>
        </p:txBody>
      </p:sp>
      <p:sp>
        <p:nvSpPr>
          <p:cNvPr id="26" name="Content Placeholder 2">
            <a:extLst>
              <a:ext uri="{FF2B5EF4-FFF2-40B4-BE49-F238E27FC236}">
                <a16:creationId xmlns:a16="http://schemas.microsoft.com/office/drawing/2014/main" id="{9700032A-8918-459A-BD92-804C1BD0A611}"/>
              </a:ext>
            </a:extLst>
          </p:cNvPr>
          <p:cNvSpPr>
            <a:spLocks noGrp="1"/>
          </p:cNvSpPr>
          <p:nvPr>
            <p:ph sz="quarter" idx="33"/>
          </p:nvPr>
        </p:nvSpPr>
        <p:spPr>
          <a:xfrm>
            <a:off x="7890699" y="4979750"/>
            <a:ext cx="1292225" cy="153888"/>
          </a:xfrm>
        </p:spPr>
        <p:txBody>
          <a:bodyPr/>
          <a:lstStyle>
            <a:lvl1pPr marL="0" indent="0">
              <a:buNone/>
              <a:defRPr sz="1000"/>
            </a:lvl1pPr>
          </a:lstStyle>
          <a:p>
            <a:pPr lvl="0"/>
            <a:endParaRPr lang="en-US"/>
          </a:p>
        </p:txBody>
      </p:sp>
      <p:sp>
        <p:nvSpPr>
          <p:cNvPr id="27" name="Content Placeholder 2">
            <a:extLst>
              <a:ext uri="{FF2B5EF4-FFF2-40B4-BE49-F238E27FC236}">
                <a16:creationId xmlns:a16="http://schemas.microsoft.com/office/drawing/2014/main" id="{3862AD86-2CB1-4127-A021-6347DCE2DBDE}"/>
              </a:ext>
            </a:extLst>
          </p:cNvPr>
          <p:cNvSpPr>
            <a:spLocks noGrp="1"/>
          </p:cNvSpPr>
          <p:nvPr>
            <p:ph sz="quarter" idx="34"/>
          </p:nvPr>
        </p:nvSpPr>
        <p:spPr>
          <a:xfrm>
            <a:off x="6325943" y="1049798"/>
            <a:ext cx="1292225" cy="153888"/>
          </a:xfrm>
        </p:spPr>
        <p:txBody>
          <a:bodyPr/>
          <a:lstStyle>
            <a:lvl1pPr marL="0" indent="0">
              <a:buNone/>
              <a:defRPr sz="1000"/>
            </a:lvl1pPr>
          </a:lstStyle>
          <a:p>
            <a:pPr lvl="0"/>
            <a:endParaRPr lang="en-US"/>
          </a:p>
        </p:txBody>
      </p:sp>
      <p:sp>
        <p:nvSpPr>
          <p:cNvPr id="28" name="Content Placeholder 2">
            <a:extLst>
              <a:ext uri="{FF2B5EF4-FFF2-40B4-BE49-F238E27FC236}">
                <a16:creationId xmlns:a16="http://schemas.microsoft.com/office/drawing/2014/main" id="{70B60357-067B-4C8B-A23E-556F81C3B048}"/>
              </a:ext>
            </a:extLst>
          </p:cNvPr>
          <p:cNvSpPr>
            <a:spLocks noGrp="1"/>
          </p:cNvSpPr>
          <p:nvPr>
            <p:ph sz="quarter" idx="35"/>
          </p:nvPr>
        </p:nvSpPr>
        <p:spPr>
          <a:xfrm>
            <a:off x="7834985" y="1049798"/>
            <a:ext cx="1292225" cy="153888"/>
          </a:xfrm>
        </p:spPr>
        <p:txBody>
          <a:bodyPr/>
          <a:lstStyle>
            <a:lvl1pPr marL="0" indent="0">
              <a:buNone/>
              <a:defRPr sz="1000"/>
            </a:lvl1pPr>
          </a:lstStyle>
          <a:p>
            <a:pPr lvl="0"/>
            <a:endParaRPr lang="en-US"/>
          </a:p>
        </p:txBody>
      </p:sp>
      <p:sp>
        <p:nvSpPr>
          <p:cNvPr id="29" name="Content Placeholder 2">
            <a:extLst>
              <a:ext uri="{FF2B5EF4-FFF2-40B4-BE49-F238E27FC236}">
                <a16:creationId xmlns:a16="http://schemas.microsoft.com/office/drawing/2014/main" id="{D45A1322-1227-4906-9E34-49EB1A9620B2}"/>
              </a:ext>
            </a:extLst>
          </p:cNvPr>
          <p:cNvSpPr>
            <a:spLocks noGrp="1"/>
          </p:cNvSpPr>
          <p:nvPr>
            <p:ph sz="quarter" idx="36"/>
          </p:nvPr>
        </p:nvSpPr>
        <p:spPr>
          <a:xfrm>
            <a:off x="6325943" y="1485003"/>
            <a:ext cx="1292225" cy="153888"/>
          </a:xfrm>
        </p:spPr>
        <p:txBody>
          <a:bodyPr/>
          <a:lstStyle>
            <a:lvl1pPr marL="0" indent="0">
              <a:buNone/>
              <a:defRPr sz="1000"/>
            </a:lvl1pPr>
          </a:lstStyle>
          <a:p>
            <a:pPr lvl="0"/>
            <a:endParaRPr lang="en-US"/>
          </a:p>
        </p:txBody>
      </p:sp>
      <p:sp>
        <p:nvSpPr>
          <p:cNvPr id="30" name="Content Placeholder 2">
            <a:extLst>
              <a:ext uri="{FF2B5EF4-FFF2-40B4-BE49-F238E27FC236}">
                <a16:creationId xmlns:a16="http://schemas.microsoft.com/office/drawing/2014/main" id="{5F68B52E-A842-4EC3-B44C-0040593962CB}"/>
              </a:ext>
            </a:extLst>
          </p:cNvPr>
          <p:cNvSpPr>
            <a:spLocks noGrp="1"/>
          </p:cNvSpPr>
          <p:nvPr>
            <p:ph sz="quarter" idx="37"/>
          </p:nvPr>
        </p:nvSpPr>
        <p:spPr>
          <a:xfrm>
            <a:off x="7834985" y="1485003"/>
            <a:ext cx="1292225" cy="153888"/>
          </a:xfrm>
        </p:spPr>
        <p:txBody>
          <a:bodyPr/>
          <a:lstStyle>
            <a:lvl1pPr marL="0" indent="0">
              <a:buNone/>
              <a:defRPr sz="1000"/>
            </a:lvl1pPr>
          </a:lstStyle>
          <a:p>
            <a:pPr lvl="0"/>
            <a:endParaRPr lang="en-US"/>
          </a:p>
        </p:txBody>
      </p:sp>
      <p:sp>
        <p:nvSpPr>
          <p:cNvPr id="31" name="Content Placeholder 2">
            <a:extLst>
              <a:ext uri="{FF2B5EF4-FFF2-40B4-BE49-F238E27FC236}">
                <a16:creationId xmlns:a16="http://schemas.microsoft.com/office/drawing/2014/main" id="{5FCEC5B5-8D22-49EC-A5C9-925CFA85B0BC}"/>
              </a:ext>
            </a:extLst>
          </p:cNvPr>
          <p:cNvSpPr>
            <a:spLocks noGrp="1"/>
          </p:cNvSpPr>
          <p:nvPr>
            <p:ph sz="quarter" idx="38"/>
          </p:nvPr>
        </p:nvSpPr>
        <p:spPr>
          <a:xfrm>
            <a:off x="6325943" y="1874925"/>
            <a:ext cx="1292225" cy="153888"/>
          </a:xfrm>
        </p:spPr>
        <p:txBody>
          <a:bodyPr/>
          <a:lstStyle>
            <a:lvl1pPr marL="0" indent="0">
              <a:buNone/>
              <a:defRPr sz="1000"/>
            </a:lvl1pPr>
          </a:lstStyle>
          <a:p>
            <a:pPr lvl="0"/>
            <a:endParaRPr lang="en-US"/>
          </a:p>
        </p:txBody>
      </p:sp>
      <p:sp>
        <p:nvSpPr>
          <p:cNvPr id="32" name="Content Placeholder 2">
            <a:extLst>
              <a:ext uri="{FF2B5EF4-FFF2-40B4-BE49-F238E27FC236}">
                <a16:creationId xmlns:a16="http://schemas.microsoft.com/office/drawing/2014/main" id="{9749CDF4-06C8-4A46-B2E2-DAF73C501F13}"/>
              </a:ext>
            </a:extLst>
          </p:cNvPr>
          <p:cNvSpPr>
            <a:spLocks noGrp="1"/>
          </p:cNvSpPr>
          <p:nvPr>
            <p:ph sz="quarter" idx="39"/>
          </p:nvPr>
        </p:nvSpPr>
        <p:spPr>
          <a:xfrm>
            <a:off x="7834985" y="1874925"/>
            <a:ext cx="1292225" cy="153888"/>
          </a:xfrm>
        </p:spPr>
        <p:txBody>
          <a:bodyPr/>
          <a:lstStyle>
            <a:lvl1pPr marL="0" indent="0">
              <a:buNone/>
              <a:defRPr sz="1000"/>
            </a:lvl1pPr>
          </a:lstStyle>
          <a:p>
            <a:pPr lvl="0"/>
            <a:endParaRPr lang="en-US"/>
          </a:p>
        </p:txBody>
      </p:sp>
      <p:sp>
        <p:nvSpPr>
          <p:cNvPr id="33" name="Content Placeholder 2">
            <a:extLst>
              <a:ext uri="{FF2B5EF4-FFF2-40B4-BE49-F238E27FC236}">
                <a16:creationId xmlns:a16="http://schemas.microsoft.com/office/drawing/2014/main" id="{8719FE36-B1B3-4B8E-830B-14352FE33AB2}"/>
              </a:ext>
            </a:extLst>
          </p:cNvPr>
          <p:cNvSpPr>
            <a:spLocks noGrp="1"/>
          </p:cNvSpPr>
          <p:nvPr>
            <p:ph sz="quarter" idx="40"/>
          </p:nvPr>
        </p:nvSpPr>
        <p:spPr>
          <a:xfrm>
            <a:off x="263525" y="2396259"/>
            <a:ext cx="1292225" cy="153888"/>
          </a:xfrm>
        </p:spPr>
        <p:txBody>
          <a:bodyPr/>
          <a:lstStyle>
            <a:lvl1pPr marL="0" indent="0">
              <a:buNone/>
              <a:defRPr sz="1000"/>
            </a:lvl1pPr>
          </a:lstStyle>
          <a:p>
            <a:pPr lvl="0"/>
            <a:endParaRPr lang="en-US"/>
          </a:p>
        </p:txBody>
      </p:sp>
      <p:sp>
        <p:nvSpPr>
          <p:cNvPr id="34" name="Content Placeholder 2">
            <a:extLst>
              <a:ext uri="{FF2B5EF4-FFF2-40B4-BE49-F238E27FC236}">
                <a16:creationId xmlns:a16="http://schemas.microsoft.com/office/drawing/2014/main" id="{1D3184E6-DEEE-438B-8C2B-72E55C8C5925}"/>
              </a:ext>
            </a:extLst>
          </p:cNvPr>
          <p:cNvSpPr>
            <a:spLocks noGrp="1"/>
          </p:cNvSpPr>
          <p:nvPr>
            <p:ph sz="quarter" idx="41"/>
          </p:nvPr>
        </p:nvSpPr>
        <p:spPr>
          <a:xfrm>
            <a:off x="1772567" y="2396259"/>
            <a:ext cx="1292225" cy="153888"/>
          </a:xfrm>
        </p:spPr>
        <p:txBody>
          <a:bodyPr/>
          <a:lstStyle>
            <a:lvl1pPr marL="0" indent="0">
              <a:buNone/>
              <a:defRPr sz="1000"/>
            </a:lvl1pPr>
          </a:lstStyle>
          <a:p>
            <a:pPr lvl="0"/>
            <a:endParaRPr lang="en-US"/>
          </a:p>
        </p:txBody>
      </p:sp>
      <p:sp>
        <p:nvSpPr>
          <p:cNvPr id="35" name="Content Placeholder 2">
            <a:extLst>
              <a:ext uri="{FF2B5EF4-FFF2-40B4-BE49-F238E27FC236}">
                <a16:creationId xmlns:a16="http://schemas.microsoft.com/office/drawing/2014/main" id="{BEC59B97-E338-4AAD-8A6C-7F678B13C761}"/>
              </a:ext>
            </a:extLst>
          </p:cNvPr>
          <p:cNvSpPr>
            <a:spLocks noGrp="1"/>
          </p:cNvSpPr>
          <p:nvPr>
            <p:ph sz="quarter" idx="42"/>
          </p:nvPr>
        </p:nvSpPr>
        <p:spPr>
          <a:xfrm>
            <a:off x="263525" y="2831464"/>
            <a:ext cx="1292225" cy="153888"/>
          </a:xfrm>
        </p:spPr>
        <p:txBody>
          <a:bodyPr/>
          <a:lstStyle>
            <a:lvl1pPr marL="0" indent="0">
              <a:buNone/>
              <a:defRPr sz="1000"/>
            </a:lvl1pPr>
          </a:lstStyle>
          <a:p>
            <a:pPr lvl="0"/>
            <a:endParaRPr lang="en-US"/>
          </a:p>
        </p:txBody>
      </p:sp>
      <p:sp>
        <p:nvSpPr>
          <p:cNvPr id="36" name="Content Placeholder 2">
            <a:extLst>
              <a:ext uri="{FF2B5EF4-FFF2-40B4-BE49-F238E27FC236}">
                <a16:creationId xmlns:a16="http://schemas.microsoft.com/office/drawing/2014/main" id="{C7894F27-D3D5-4271-8FFC-ACF626717D16}"/>
              </a:ext>
            </a:extLst>
          </p:cNvPr>
          <p:cNvSpPr>
            <a:spLocks noGrp="1"/>
          </p:cNvSpPr>
          <p:nvPr>
            <p:ph sz="quarter" idx="43"/>
          </p:nvPr>
        </p:nvSpPr>
        <p:spPr>
          <a:xfrm>
            <a:off x="1772567" y="2831464"/>
            <a:ext cx="1292225" cy="153888"/>
          </a:xfrm>
        </p:spPr>
        <p:txBody>
          <a:bodyPr/>
          <a:lstStyle>
            <a:lvl1pPr marL="0" indent="0">
              <a:buNone/>
              <a:defRPr sz="1000"/>
            </a:lvl1pPr>
          </a:lstStyle>
          <a:p>
            <a:pPr lvl="0"/>
            <a:endParaRPr lang="en-US"/>
          </a:p>
        </p:txBody>
      </p:sp>
      <p:sp>
        <p:nvSpPr>
          <p:cNvPr id="37" name="Content Placeholder 2">
            <a:extLst>
              <a:ext uri="{FF2B5EF4-FFF2-40B4-BE49-F238E27FC236}">
                <a16:creationId xmlns:a16="http://schemas.microsoft.com/office/drawing/2014/main" id="{ABD84E24-B348-4D4D-878B-5244A384B0A0}"/>
              </a:ext>
            </a:extLst>
          </p:cNvPr>
          <p:cNvSpPr>
            <a:spLocks noGrp="1"/>
          </p:cNvSpPr>
          <p:nvPr>
            <p:ph sz="quarter" idx="44"/>
          </p:nvPr>
        </p:nvSpPr>
        <p:spPr>
          <a:xfrm>
            <a:off x="263525" y="3266669"/>
            <a:ext cx="1292225" cy="153888"/>
          </a:xfrm>
        </p:spPr>
        <p:txBody>
          <a:bodyPr/>
          <a:lstStyle>
            <a:lvl1pPr marL="0" indent="0">
              <a:buNone/>
              <a:defRPr sz="1000"/>
            </a:lvl1pPr>
          </a:lstStyle>
          <a:p>
            <a:pPr lvl="0"/>
            <a:endParaRPr lang="en-US"/>
          </a:p>
        </p:txBody>
      </p:sp>
      <p:sp>
        <p:nvSpPr>
          <p:cNvPr id="38" name="Content Placeholder 2">
            <a:extLst>
              <a:ext uri="{FF2B5EF4-FFF2-40B4-BE49-F238E27FC236}">
                <a16:creationId xmlns:a16="http://schemas.microsoft.com/office/drawing/2014/main" id="{728E84CC-F3E5-4E7F-B73F-11097476C946}"/>
              </a:ext>
            </a:extLst>
          </p:cNvPr>
          <p:cNvSpPr>
            <a:spLocks noGrp="1"/>
          </p:cNvSpPr>
          <p:nvPr>
            <p:ph sz="quarter" idx="45"/>
          </p:nvPr>
        </p:nvSpPr>
        <p:spPr>
          <a:xfrm>
            <a:off x="1772567" y="3266669"/>
            <a:ext cx="1292225" cy="153888"/>
          </a:xfrm>
        </p:spPr>
        <p:txBody>
          <a:bodyPr/>
          <a:lstStyle>
            <a:lvl1pPr marL="0" indent="0">
              <a:buNone/>
              <a:defRPr sz="1000"/>
            </a:lvl1pPr>
          </a:lstStyle>
          <a:p>
            <a:pPr lvl="0"/>
            <a:endParaRPr lang="en-US"/>
          </a:p>
        </p:txBody>
      </p:sp>
      <p:sp>
        <p:nvSpPr>
          <p:cNvPr id="39" name="Content Placeholder 2">
            <a:extLst>
              <a:ext uri="{FF2B5EF4-FFF2-40B4-BE49-F238E27FC236}">
                <a16:creationId xmlns:a16="http://schemas.microsoft.com/office/drawing/2014/main" id="{2F04C186-355B-4234-AFD1-E923D911E215}"/>
              </a:ext>
            </a:extLst>
          </p:cNvPr>
          <p:cNvSpPr>
            <a:spLocks noGrp="1"/>
          </p:cNvSpPr>
          <p:nvPr>
            <p:ph sz="quarter" idx="46"/>
          </p:nvPr>
        </p:nvSpPr>
        <p:spPr>
          <a:xfrm>
            <a:off x="263525" y="3701874"/>
            <a:ext cx="1292225" cy="153888"/>
          </a:xfrm>
        </p:spPr>
        <p:txBody>
          <a:bodyPr/>
          <a:lstStyle>
            <a:lvl1pPr marL="0" indent="0">
              <a:buNone/>
              <a:defRPr sz="1000"/>
            </a:lvl1pPr>
          </a:lstStyle>
          <a:p>
            <a:pPr lvl="0"/>
            <a:endParaRPr lang="en-US"/>
          </a:p>
        </p:txBody>
      </p:sp>
      <p:sp>
        <p:nvSpPr>
          <p:cNvPr id="40" name="Content Placeholder 2">
            <a:extLst>
              <a:ext uri="{FF2B5EF4-FFF2-40B4-BE49-F238E27FC236}">
                <a16:creationId xmlns:a16="http://schemas.microsoft.com/office/drawing/2014/main" id="{6E19BF16-5C23-4F44-954F-C2B9B6F7DC0F}"/>
              </a:ext>
            </a:extLst>
          </p:cNvPr>
          <p:cNvSpPr>
            <a:spLocks noGrp="1"/>
          </p:cNvSpPr>
          <p:nvPr>
            <p:ph sz="quarter" idx="47"/>
          </p:nvPr>
        </p:nvSpPr>
        <p:spPr>
          <a:xfrm>
            <a:off x="1772567" y="3701874"/>
            <a:ext cx="1292225" cy="153888"/>
          </a:xfrm>
        </p:spPr>
        <p:txBody>
          <a:bodyPr/>
          <a:lstStyle>
            <a:lvl1pPr marL="0" indent="0">
              <a:buNone/>
              <a:defRPr sz="1000"/>
            </a:lvl1pPr>
          </a:lstStyle>
          <a:p>
            <a:pPr lvl="0"/>
            <a:endParaRPr lang="en-US"/>
          </a:p>
        </p:txBody>
      </p:sp>
      <p:sp>
        <p:nvSpPr>
          <p:cNvPr id="41" name="Content Placeholder 2">
            <a:extLst>
              <a:ext uri="{FF2B5EF4-FFF2-40B4-BE49-F238E27FC236}">
                <a16:creationId xmlns:a16="http://schemas.microsoft.com/office/drawing/2014/main" id="{5643A018-6895-4257-9A5C-010B8ED66811}"/>
              </a:ext>
            </a:extLst>
          </p:cNvPr>
          <p:cNvSpPr>
            <a:spLocks noGrp="1"/>
          </p:cNvSpPr>
          <p:nvPr>
            <p:ph sz="quarter" idx="48"/>
          </p:nvPr>
        </p:nvSpPr>
        <p:spPr>
          <a:xfrm>
            <a:off x="263525" y="4091796"/>
            <a:ext cx="1292225" cy="153888"/>
          </a:xfrm>
        </p:spPr>
        <p:txBody>
          <a:bodyPr/>
          <a:lstStyle>
            <a:lvl1pPr marL="0" indent="0">
              <a:buNone/>
              <a:defRPr sz="1000"/>
            </a:lvl1pPr>
          </a:lstStyle>
          <a:p>
            <a:pPr lvl="0"/>
            <a:endParaRPr lang="en-US"/>
          </a:p>
        </p:txBody>
      </p:sp>
      <p:sp>
        <p:nvSpPr>
          <p:cNvPr id="42" name="Content Placeholder 2">
            <a:extLst>
              <a:ext uri="{FF2B5EF4-FFF2-40B4-BE49-F238E27FC236}">
                <a16:creationId xmlns:a16="http://schemas.microsoft.com/office/drawing/2014/main" id="{2301D664-55D0-4E22-A15C-1AEFB0F4ABAA}"/>
              </a:ext>
            </a:extLst>
          </p:cNvPr>
          <p:cNvSpPr>
            <a:spLocks noGrp="1"/>
          </p:cNvSpPr>
          <p:nvPr>
            <p:ph sz="quarter" idx="49"/>
          </p:nvPr>
        </p:nvSpPr>
        <p:spPr>
          <a:xfrm>
            <a:off x="1772567" y="4091796"/>
            <a:ext cx="1292225" cy="153888"/>
          </a:xfrm>
        </p:spPr>
        <p:txBody>
          <a:bodyPr/>
          <a:lstStyle>
            <a:lvl1pPr marL="0" indent="0">
              <a:buNone/>
              <a:defRPr sz="1000"/>
            </a:lvl1pPr>
          </a:lstStyle>
          <a:p>
            <a:pPr lvl="0"/>
            <a:endParaRPr lang="en-US"/>
          </a:p>
        </p:txBody>
      </p:sp>
      <p:sp>
        <p:nvSpPr>
          <p:cNvPr id="43" name="Content Placeholder 2">
            <a:extLst>
              <a:ext uri="{FF2B5EF4-FFF2-40B4-BE49-F238E27FC236}">
                <a16:creationId xmlns:a16="http://schemas.microsoft.com/office/drawing/2014/main" id="{02EB8510-E933-484A-823D-128856D90A0E}"/>
              </a:ext>
            </a:extLst>
          </p:cNvPr>
          <p:cNvSpPr>
            <a:spLocks noGrp="1"/>
          </p:cNvSpPr>
          <p:nvPr>
            <p:ph sz="quarter" idx="50"/>
          </p:nvPr>
        </p:nvSpPr>
        <p:spPr>
          <a:xfrm>
            <a:off x="3168552" y="2308086"/>
            <a:ext cx="1292225" cy="153888"/>
          </a:xfrm>
        </p:spPr>
        <p:txBody>
          <a:bodyPr/>
          <a:lstStyle>
            <a:lvl1pPr marL="0" indent="0">
              <a:buNone/>
              <a:defRPr sz="1000"/>
            </a:lvl1pPr>
          </a:lstStyle>
          <a:p>
            <a:pPr lvl="0"/>
            <a:endParaRPr lang="en-US"/>
          </a:p>
        </p:txBody>
      </p:sp>
      <p:sp>
        <p:nvSpPr>
          <p:cNvPr id="44" name="Content Placeholder 2">
            <a:extLst>
              <a:ext uri="{FF2B5EF4-FFF2-40B4-BE49-F238E27FC236}">
                <a16:creationId xmlns:a16="http://schemas.microsoft.com/office/drawing/2014/main" id="{A8ED0526-1801-45B3-80E4-FFB9B76B62DF}"/>
              </a:ext>
            </a:extLst>
          </p:cNvPr>
          <p:cNvSpPr>
            <a:spLocks noGrp="1"/>
          </p:cNvSpPr>
          <p:nvPr>
            <p:ph sz="quarter" idx="51"/>
          </p:nvPr>
        </p:nvSpPr>
        <p:spPr>
          <a:xfrm>
            <a:off x="4677594" y="2308086"/>
            <a:ext cx="1292225" cy="153888"/>
          </a:xfrm>
        </p:spPr>
        <p:txBody>
          <a:bodyPr/>
          <a:lstStyle>
            <a:lvl1pPr marL="0" indent="0">
              <a:buNone/>
              <a:defRPr sz="1000"/>
            </a:lvl1pPr>
          </a:lstStyle>
          <a:p>
            <a:pPr lvl="0"/>
            <a:endParaRPr lang="en-US"/>
          </a:p>
        </p:txBody>
      </p:sp>
      <p:sp>
        <p:nvSpPr>
          <p:cNvPr id="45" name="Content Placeholder 2">
            <a:extLst>
              <a:ext uri="{FF2B5EF4-FFF2-40B4-BE49-F238E27FC236}">
                <a16:creationId xmlns:a16="http://schemas.microsoft.com/office/drawing/2014/main" id="{DBA0FA38-1D35-489D-95F8-85EA1B5C9F2A}"/>
              </a:ext>
            </a:extLst>
          </p:cNvPr>
          <p:cNvSpPr>
            <a:spLocks noGrp="1"/>
          </p:cNvSpPr>
          <p:nvPr>
            <p:ph sz="quarter" idx="52"/>
          </p:nvPr>
        </p:nvSpPr>
        <p:spPr>
          <a:xfrm>
            <a:off x="3168552" y="2743291"/>
            <a:ext cx="1292225" cy="153888"/>
          </a:xfrm>
        </p:spPr>
        <p:txBody>
          <a:bodyPr/>
          <a:lstStyle>
            <a:lvl1pPr marL="0" indent="0">
              <a:buNone/>
              <a:defRPr sz="1000"/>
            </a:lvl1pPr>
          </a:lstStyle>
          <a:p>
            <a:pPr lvl="0"/>
            <a:endParaRPr lang="en-US"/>
          </a:p>
        </p:txBody>
      </p:sp>
      <p:sp>
        <p:nvSpPr>
          <p:cNvPr id="46" name="Content Placeholder 2">
            <a:extLst>
              <a:ext uri="{FF2B5EF4-FFF2-40B4-BE49-F238E27FC236}">
                <a16:creationId xmlns:a16="http://schemas.microsoft.com/office/drawing/2014/main" id="{B562D635-6A37-44E0-82D9-9AEAD9A61A80}"/>
              </a:ext>
            </a:extLst>
          </p:cNvPr>
          <p:cNvSpPr>
            <a:spLocks noGrp="1"/>
          </p:cNvSpPr>
          <p:nvPr>
            <p:ph sz="quarter" idx="53"/>
          </p:nvPr>
        </p:nvSpPr>
        <p:spPr>
          <a:xfrm>
            <a:off x="4677594" y="2743291"/>
            <a:ext cx="1292225" cy="153888"/>
          </a:xfrm>
        </p:spPr>
        <p:txBody>
          <a:bodyPr/>
          <a:lstStyle>
            <a:lvl1pPr marL="0" indent="0">
              <a:buNone/>
              <a:defRPr sz="1000"/>
            </a:lvl1pPr>
          </a:lstStyle>
          <a:p>
            <a:pPr lvl="0"/>
            <a:endParaRPr lang="en-US"/>
          </a:p>
        </p:txBody>
      </p:sp>
      <p:sp>
        <p:nvSpPr>
          <p:cNvPr id="47" name="Content Placeholder 2">
            <a:extLst>
              <a:ext uri="{FF2B5EF4-FFF2-40B4-BE49-F238E27FC236}">
                <a16:creationId xmlns:a16="http://schemas.microsoft.com/office/drawing/2014/main" id="{15F4B6DB-41EA-4230-A301-2A890D7ADDC1}"/>
              </a:ext>
            </a:extLst>
          </p:cNvPr>
          <p:cNvSpPr>
            <a:spLocks noGrp="1"/>
          </p:cNvSpPr>
          <p:nvPr>
            <p:ph sz="quarter" idx="54"/>
          </p:nvPr>
        </p:nvSpPr>
        <p:spPr>
          <a:xfrm>
            <a:off x="3168552" y="3178496"/>
            <a:ext cx="1292225" cy="153888"/>
          </a:xfrm>
        </p:spPr>
        <p:txBody>
          <a:bodyPr/>
          <a:lstStyle>
            <a:lvl1pPr marL="0" indent="0">
              <a:buNone/>
              <a:defRPr sz="1000"/>
            </a:lvl1pPr>
          </a:lstStyle>
          <a:p>
            <a:pPr lvl="0"/>
            <a:endParaRPr lang="en-US"/>
          </a:p>
        </p:txBody>
      </p:sp>
      <p:sp>
        <p:nvSpPr>
          <p:cNvPr id="48" name="Content Placeholder 2">
            <a:extLst>
              <a:ext uri="{FF2B5EF4-FFF2-40B4-BE49-F238E27FC236}">
                <a16:creationId xmlns:a16="http://schemas.microsoft.com/office/drawing/2014/main" id="{92B2676F-E2A4-4A37-BC44-7A46DE5E0282}"/>
              </a:ext>
            </a:extLst>
          </p:cNvPr>
          <p:cNvSpPr>
            <a:spLocks noGrp="1"/>
          </p:cNvSpPr>
          <p:nvPr>
            <p:ph sz="quarter" idx="55"/>
          </p:nvPr>
        </p:nvSpPr>
        <p:spPr>
          <a:xfrm>
            <a:off x="4677594" y="3178496"/>
            <a:ext cx="1292225" cy="153888"/>
          </a:xfrm>
        </p:spPr>
        <p:txBody>
          <a:bodyPr/>
          <a:lstStyle>
            <a:lvl1pPr marL="0" indent="0">
              <a:buNone/>
              <a:defRPr sz="1000"/>
            </a:lvl1pPr>
          </a:lstStyle>
          <a:p>
            <a:pPr lvl="0"/>
            <a:endParaRPr lang="en-US"/>
          </a:p>
        </p:txBody>
      </p:sp>
      <p:sp>
        <p:nvSpPr>
          <p:cNvPr id="49" name="Content Placeholder 2">
            <a:extLst>
              <a:ext uri="{FF2B5EF4-FFF2-40B4-BE49-F238E27FC236}">
                <a16:creationId xmlns:a16="http://schemas.microsoft.com/office/drawing/2014/main" id="{828898C2-3DDF-48D5-9AC1-EC3711A0F1CE}"/>
              </a:ext>
            </a:extLst>
          </p:cNvPr>
          <p:cNvSpPr>
            <a:spLocks noGrp="1"/>
          </p:cNvSpPr>
          <p:nvPr>
            <p:ph sz="quarter" idx="56"/>
          </p:nvPr>
        </p:nvSpPr>
        <p:spPr>
          <a:xfrm>
            <a:off x="3168552" y="3613701"/>
            <a:ext cx="1292225" cy="153888"/>
          </a:xfrm>
        </p:spPr>
        <p:txBody>
          <a:bodyPr/>
          <a:lstStyle>
            <a:lvl1pPr marL="0" indent="0">
              <a:buNone/>
              <a:defRPr sz="1000"/>
            </a:lvl1pPr>
          </a:lstStyle>
          <a:p>
            <a:pPr lvl="0"/>
            <a:endParaRPr lang="en-US"/>
          </a:p>
        </p:txBody>
      </p:sp>
      <p:sp>
        <p:nvSpPr>
          <p:cNvPr id="50" name="Content Placeholder 2">
            <a:extLst>
              <a:ext uri="{FF2B5EF4-FFF2-40B4-BE49-F238E27FC236}">
                <a16:creationId xmlns:a16="http://schemas.microsoft.com/office/drawing/2014/main" id="{E1581C51-0F9A-402B-BEF2-5DAB58C06D6F}"/>
              </a:ext>
            </a:extLst>
          </p:cNvPr>
          <p:cNvSpPr>
            <a:spLocks noGrp="1"/>
          </p:cNvSpPr>
          <p:nvPr>
            <p:ph sz="quarter" idx="57"/>
          </p:nvPr>
        </p:nvSpPr>
        <p:spPr>
          <a:xfrm>
            <a:off x="4677594" y="3613701"/>
            <a:ext cx="1292225" cy="153888"/>
          </a:xfrm>
        </p:spPr>
        <p:txBody>
          <a:bodyPr/>
          <a:lstStyle>
            <a:lvl1pPr marL="0" indent="0">
              <a:buNone/>
              <a:defRPr sz="1000"/>
            </a:lvl1pPr>
          </a:lstStyle>
          <a:p>
            <a:pPr lvl="0"/>
            <a:endParaRPr lang="en-US"/>
          </a:p>
        </p:txBody>
      </p:sp>
      <p:sp>
        <p:nvSpPr>
          <p:cNvPr id="51" name="Content Placeholder 2">
            <a:extLst>
              <a:ext uri="{FF2B5EF4-FFF2-40B4-BE49-F238E27FC236}">
                <a16:creationId xmlns:a16="http://schemas.microsoft.com/office/drawing/2014/main" id="{41E08777-B47C-49E0-899F-39BBF20B2596}"/>
              </a:ext>
            </a:extLst>
          </p:cNvPr>
          <p:cNvSpPr>
            <a:spLocks noGrp="1"/>
          </p:cNvSpPr>
          <p:nvPr>
            <p:ph sz="quarter" idx="58"/>
          </p:nvPr>
        </p:nvSpPr>
        <p:spPr>
          <a:xfrm>
            <a:off x="3168552" y="4003623"/>
            <a:ext cx="1292225" cy="153888"/>
          </a:xfrm>
        </p:spPr>
        <p:txBody>
          <a:bodyPr/>
          <a:lstStyle>
            <a:lvl1pPr marL="0" indent="0">
              <a:buNone/>
              <a:defRPr sz="1000"/>
            </a:lvl1pPr>
          </a:lstStyle>
          <a:p>
            <a:pPr lvl="0"/>
            <a:endParaRPr lang="en-US"/>
          </a:p>
        </p:txBody>
      </p:sp>
      <p:sp>
        <p:nvSpPr>
          <p:cNvPr id="52" name="Content Placeholder 2">
            <a:extLst>
              <a:ext uri="{FF2B5EF4-FFF2-40B4-BE49-F238E27FC236}">
                <a16:creationId xmlns:a16="http://schemas.microsoft.com/office/drawing/2014/main" id="{E4AF72BF-3326-47A8-BA0B-75AB63631EA9}"/>
              </a:ext>
            </a:extLst>
          </p:cNvPr>
          <p:cNvSpPr>
            <a:spLocks noGrp="1"/>
          </p:cNvSpPr>
          <p:nvPr>
            <p:ph sz="quarter" idx="59"/>
          </p:nvPr>
        </p:nvSpPr>
        <p:spPr>
          <a:xfrm>
            <a:off x="4677594" y="4003623"/>
            <a:ext cx="1292225" cy="153888"/>
          </a:xfrm>
        </p:spPr>
        <p:txBody>
          <a:bodyPr/>
          <a:lstStyle>
            <a:lvl1pPr marL="0" indent="0">
              <a:buNone/>
              <a:defRPr sz="1000"/>
            </a:lvl1pPr>
          </a:lstStyle>
          <a:p>
            <a:pPr lvl="0"/>
            <a:endParaRPr lang="en-US"/>
          </a:p>
        </p:txBody>
      </p:sp>
      <p:sp>
        <p:nvSpPr>
          <p:cNvPr id="63" name="Content Placeholder 2">
            <a:extLst>
              <a:ext uri="{FF2B5EF4-FFF2-40B4-BE49-F238E27FC236}">
                <a16:creationId xmlns:a16="http://schemas.microsoft.com/office/drawing/2014/main" id="{8FC6422F-243B-48B0-9830-F0610254A969}"/>
              </a:ext>
            </a:extLst>
          </p:cNvPr>
          <p:cNvSpPr>
            <a:spLocks noGrp="1"/>
          </p:cNvSpPr>
          <p:nvPr>
            <p:ph sz="quarter" idx="60"/>
          </p:nvPr>
        </p:nvSpPr>
        <p:spPr>
          <a:xfrm>
            <a:off x="6186636" y="2294978"/>
            <a:ext cx="1292225" cy="153888"/>
          </a:xfrm>
        </p:spPr>
        <p:txBody>
          <a:bodyPr/>
          <a:lstStyle>
            <a:lvl1pPr marL="0" indent="0">
              <a:buNone/>
              <a:defRPr sz="1000"/>
            </a:lvl1pPr>
          </a:lstStyle>
          <a:p>
            <a:pPr lvl="0"/>
            <a:endParaRPr lang="en-US"/>
          </a:p>
        </p:txBody>
      </p:sp>
      <p:sp>
        <p:nvSpPr>
          <p:cNvPr id="64" name="Content Placeholder 2">
            <a:extLst>
              <a:ext uri="{FF2B5EF4-FFF2-40B4-BE49-F238E27FC236}">
                <a16:creationId xmlns:a16="http://schemas.microsoft.com/office/drawing/2014/main" id="{6876EE1E-1229-4CC3-9AFD-9E6E92742511}"/>
              </a:ext>
            </a:extLst>
          </p:cNvPr>
          <p:cNvSpPr>
            <a:spLocks noGrp="1"/>
          </p:cNvSpPr>
          <p:nvPr>
            <p:ph sz="quarter" idx="61"/>
          </p:nvPr>
        </p:nvSpPr>
        <p:spPr>
          <a:xfrm>
            <a:off x="7695678" y="2294978"/>
            <a:ext cx="1292225" cy="153888"/>
          </a:xfrm>
        </p:spPr>
        <p:txBody>
          <a:bodyPr/>
          <a:lstStyle>
            <a:lvl1pPr marL="0" indent="0">
              <a:buNone/>
              <a:defRPr sz="1000"/>
            </a:lvl1pPr>
          </a:lstStyle>
          <a:p>
            <a:pPr lvl="0"/>
            <a:endParaRPr lang="en-US"/>
          </a:p>
        </p:txBody>
      </p:sp>
      <p:sp>
        <p:nvSpPr>
          <p:cNvPr id="65" name="Content Placeholder 2">
            <a:extLst>
              <a:ext uri="{FF2B5EF4-FFF2-40B4-BE49-F238E27FC236}">
                <a16:creationId xmlns:a16="http://schemas.microsoft.com/office/drawing/2014/main" id="{18E9E237-E9DF-44B1-A209-0943AF91625A}"/>
              </a:ext>
            </a:extLst>
          </p:cNvPr>
          <p:cNvSpPr>
            <a:spLocks noGrp="1"/>
          </p:cNvSpPr>
          <p:nvPr>
            <p:ph sz="quarter" idx="62"/>
          </p:nvPr>
        </p:nvSpPr>
        <p:spPr>
          <a:xfrm>
            <a:off x="6186636" y="2730183"/>
            <a:ext cx="1292225" cy="153888"/>
          </a:xfrm>
        </p:spPr>
        <p:txBody>
          <a:bodyPr/>
          <a:lstStyle>
            <a:lvl1pPr marL="0" indent="0">
              <a:buNone/>
              <a:defRPr sz="1000"/>
            </a:lvl1pPr>
          </a:lstStyle>
          <a:p>
            <a:pPr lvl="0"/>
            <a:endParaRPr lang="en-US"/>
          </a:p>
        </p:txBody>
      </p:sp>
      <p:sp>
        <p:nvSpPr>
          <p:cNvPr id="66" name="Content Placeholder 2">
            <a:extLst>
              <a:ext uri="{FF2B5EF4-FFF2-40B4-BE49-F238E27FC236}">
                <a16:creationId xmlns:a16="http://schemas.microsoft.com/office/drawing/2014/main" id="{6654FF11-0D90-4D08-B591-E9641FAB26BE}"/>
              </a:ext>
            </a:extLst>
          </p:cNvPr>
          <p:cNvSpPr>
            <a:spLocks noGrp="1"/>
          </p:cNvSpPr>
          <p:nvPr>
            <p:ph sz="quarter" idx="63"/>
          </p:nvPr>
        </p:nvSpPr>
        <p:spPr>
          <a:xfrm>
            <a:off x="7695678" y="2730183"/>
            <a:ext cx="1292225" cy="153888"/>
          </a:xfrm>
        </p:spPr>
        <p:txBody>
          <a:bodyPr/>
          <a:lstStyle>
            <a:lvl1pPr marL="0" indent="0">
              <a:buNone/>
              <a:defRPr sz="1000"/>
            </a:lvl1pPr>
          </a:lstStyle>
          <a:p>
            <a:pPr lvl="0"/>
            <a:endParaRPr lang="en-US"/>
          </a:p>
        </p:txBody>
      </p:sp>
      <p:sp>
        <p:nvSpPr>
          <p:cNvPr id="67" name="Content Placeholder 2">
            <a:extLst>
              <a:ext uri="{FF2B5EF4-FFF2-40B4-BE49-F238E27FC236}">
                <a16:creationId xmlns:a16="http://schemas.microsoft.com/office/drawing/2014/main" id="{C161B45A-281E-492D-A2D3-9A2AFFF4EAFA}"/>
              </a:ext>
            </a:extLst>
          </p:cNvPr>
          <p:cNvSpPr>
            <a:spLocks noGrp="1"/>
          </p:cNvSpPr>
          <p:nvPr>
            <p:ph sz="quarter" idx="64"/>
          </p:nvPr>
        </p:nvSpPr>
        <p:spPr>
          <a:xfrm>
            <a:off x="6186636" y="3165388"/>
            <a:ext cx="1292225" cy="153888"/>
          </a:xfrm>
        </p:spPr>
        <p:txBody>
          <a:bodyPr/>
          <a:lstStyle>
            <a:lvl1pPr marL="0" indent="0">
              <a:buNone/>
              <a:defRPr sz="1000"/>
            </a:lvl1pPr>
          </a:lstStyle>
          <a:p>
            <a:pPr lvl="0"/>
            <a:endParaRPr lang="en-US"/>
          </a:p>
        </p:txBody>
      </p:sp>
      <p:sp>
        <p:nvSpPr>
          <p:cNvPr id="68" name="Content Placeholder 2">
            <a:extLst>
              <a:ext uri="{FF2B5EF4-FFF2-40B4-BE49-F238E27FC236}">
                <a16:creationId xmlns:a16="http://schemas.microsoft.com/office/drawing/2014/main" id="{2AF5CB3D-D17C-453F-B6C4-6BA46C510A52}"/>
              </a:ext>
            </a:extLst>
          </p:cNvPr>
          <p:cNvSpPr>
            <a:spLocks noGrp="1"/>
          </p:cNvSpPr>
          <p:nvPr>
            <p:ph sz="quarter" idx="65"/>
          </p:nvPr>
        </p:nvSpPr>
        <p:spPr>
          <a:xfrm>
            <a:off x="7695678" y="3165388"/>
            <a:ext cx="1292225" cy="153888"/>
          </a:xfrm>
        </p:spPr>
        <p:txBody>
          <a:bodyPr/>
          <a:lstStyle>
            <a:lvl1pPr marL="0" indent="0">
              <a:buNone/>
              <a:defRPr sz="1000"/>
            </a:lvl1pPr>
          </a:lstStyle>
          <a:p>
            <a:pPr lvl="0"/>
            <a:endParaRPr lang="en-US"/>
          </a:p>
        </p:txBody>
      </p:sp>
      <p:sp>
        <p:nvSpPr>
          <p:cNvPr id="69" name="Content Placeholder 2">
            <a:extLst>
              <a:ext uri="{FF2B5EF4-FFF2-40B4-BE49-F238E27FC236}">
                <a16:creationId xmlns:a16="http://schemas.microsoft.com/office/drawing/2014/main" id="{1C369377-421A-45F1-B8B7-A4B2ED629023}"/>
              </a:ext>
            </a:extLst>
          </p:cNvPr>
          <p:cNvSpPr>
            <a:spLocks noGrp="1"/>
          </p:cNvSpPr>
          <p:nvPr>
            <p:ph sz="quarter" idx="66"/>
          </p:nvPr>
        </p:nvSpPr>
        <p:spPr>
          <a:xfrm>
            <a:off x="6186636" y="3600593"/>
            <a:ext cx="1292225" cy="153888"/>
          </a:xfrm>
        </p:spPr>
        <p:txBody>
          <a:bodyPr/>
          <a:lstStyle>
            <a:lvl1pPr marL="0" indent="0">
              <a:buNone/>
              <a:defRPr sz="1000"/>
            </a:lvl1pPr>
          </a:lstStyle>
          <a:p>
            <a:pPr lvl="0"/>
            <a:endParaRPr lang="en-US"/>
          </a:p>
        </p:txBody>
      </p:sp>
      <p:sp>
        <p:nvSpPr>
          <p:cNvPr id="70" name="Content Placeholder 2">
            <a:extLst>
              <a:ext uri="{FF2B5EF4-FFF2-40B4-BE49-F238E27FC236}">
                <a16:creationId xmlns:a16="http://schemas.microsoft.com/office/drawing/2014/main" id="{D222521D-8F7B-413F-BA3E-7D61417FC08E}"/>
              </a:ext>
            </a:extLst>
          </p:cNvPr>
          <p:cNvSpPr>
            <a:spLocks noGrp="1"/>
          </p:cNvSpPr>
          <p:nvPr>
            <p:ph sz="quarter" idx="67"/>
          </p:nvPr>
        </p:nvSpPr>
        <p:spPr>
          <a:xfrm>
            <a:off x="7695678" y="3600593"/>
            <a:ext cx="1292225" cy="153888"/>
          </a:xfrm>
        </p:spPr>
        <p:txBody>
          <a:bodyPr/>
          <a:lstStyle>
            <a:lvl1pPr marL="0" indent="0">
              <a:buNone/>
              <a:defRPr sz="1000"/>
            </a:lvl1pPr>
          </a:lstStyle>
          <a:p>
            <a:pPr lvl="0"/>
            <a:endParaRPr lang="en-US"/>
          </a:p>
        </p:txBody>
      </p:sp>
      <p:sp>
        <p:nvSpPr>
          <p:cNvPr id="71" name="Content Placeholder 2">
            <a:extLst>
              <a:ext uri="{FF2B5EF4-FFF2-40B4-BE49-F238E27FC236}">
                <a16:creationId xmlns:a16="http://schemas.microsoft.com/office/drawing/2014/main" id="{0DB9F7D6-80A4-44DE-A7D7-3DEE6562EF1A}"/>
              </a:ext>
            </a:extLst>
          </p:cNvPr>
          <p:cNvSpPr>
            <a:spLocks noGrp="1"/>
          </p:cNvSpPr>
          <p:nvPr>
            <p:ph sz="quarter" idx="68"/>
          </p:nvPr>
        </p:nvSpPr>
        <p:spPr>
          <a:xfrm>
            <a:off x="6186636" y="3990515"/>
            <a:ext cx="1292225" cy="153888"/>
          </a:xfrm>
        </p:spPr>
        <p:txBody>
          <a:bodyPr/>
          <a:lstStyle>
            <a:lvl1pPr marL="0" indent="0">
              <a:buNone/>
              <a:defRPr sz="1000"/>
            </a:lvl1pPr>
          </a:lstStyle>
          <a:p>
            <a:pPr lvl="0"/>
            <a:endParaRPr lang="en-US"/>
          </a:p>
        </p:txBody>
      </p:sp>
      <p:sp>
        <p:nvSpPr>
          <p:cNvPr id="72" name="Content Placeholder 2">
            <a:extLst>
              <a:ext uri="{FF2B5EF4-FFF2-40B4-BE49-F238E27FC236}">
                <a16:creationId xmlns:a16="http://schemas.microsoft.com/office/drawing/2014/main" id="{7353C91C-D923-4BF8-9C7E-C76BA935961F}"/>
              </a:ext>
            </a:extLst>
          </p:cNvPr>
          <p:cNvSpPr>
            <a:spLocks noGrp="1"/>
          </p:cNvSpPr>
          <p:nvPr>
            <p:ph sz="quarter" idx="69"/>
          </p:nvPr>
        </p:nvSpPr>
        <p:spPr>
          <a:xfrm>
            <a:off x="7695678" y="3990515"/>
            <a:ext cx="1292225" cy="153888"/>
          </a:xfrm>
        </p:spPr>
        <p:txBody>
          <a:bodyPr/>
          <a:lstStyle>
            <a:lvl1pPr marL="0" indent="0">
              <a:buNone/>
              <a:defRPr sz="1000"/>
            </a:lvl1pPr>
          </a:lstStyle>
          <a:p>
            <a:pPr lvl="0"/>
            <a:endParaRPr lang="en-US"/>
          </a:p>
        </p:txBody>
      </p:sp>
      <p:sp>
        <p:nvSpPr>
          <p:cNvPr id="74" name="Content Placeholder 2">
            <a:extLst>
              <a:ext uri="{FF2B5EF4-FFF2-40B4-BE49-F238E27FC236}">
                <a16:creationId xmlns:a16="http://schemas.microsoft.com/office/drawing/2014/main" id="{9E368CA3-38E5-4C7B-9140-8CF55CBA813B}"/>
              </a:ext>
            </a:extLst>
          </p:cNvPr>
          <p:cNvSpPr>
            <a:spLocks noGrp="1"/>
          </p:cNvSpPr>
          <p:nvPr>
            <p:ph sz="quarter" idx="70"/>
          </p:nvPr>
        </p:nvSpPr>
        <p:spPr>
          <a:xfrm>
            <a:off x="284524" y="4611446"/>
            <a:ext cx="1292225" cy="153888"/>
          </a:xfrm>
        </p:spPr>
        <p:txBody>
          <a:bodyPr/>
          <a:lstStyle>
            <a:lvl1pPr marL="0" indent="0">
              <a:buNone/>
              <a:defRPr sz="1000"/>
            </a:lvl1pPr>
          </a:lstStyle>
          <a:p>
            <a:pPr lvl="0"/>
            <a:endParaRPr lang="en-US"/>
          </a:p>
        </p:txBody>
      </p:sp>
      <p:sp>
        <p:nvSpPr>
          <p:cNvPr id="75" name="Content Placeholder 2">
            <a:extLst>
              <a:ext uri="{FF2B5EF4-FFF2-40B4-BE49-F238E27FC236}">
                <a16:creationId xmlns:a16="http://schemas.microsoft.com/office/drawing/2014/main" id="{05EF1501-1508-42C4-9969-CA383FF60D41}"/>
              </a:ext>
            </a:extLst>
          </p:cNvPr>
          <p:cNvSpPr>
            <a:spLocks noGrp="1"/>
          </p:cNvSpPr>
          <p:nvPr>
            <p:ph sz="quarter" idx="71"/>
          </p:nvPr>
        </p:nvSpPr>
        <p:spPr>
          <a:xfrm>
            <a:off x="1793566" y="4611446"/>
            <a:ext cx="1292225" cy="153888"/>
          </a:xfrm>
        </p:spPr>
        <p:txBody>
          <a:bodyPr/>
          <a:lstStyle>
            <a:lvl1pPr marL="0" indent="0">
              <a:buNone/>
              <a:defRPr sz="1000"/>
            </a:lvl1pPr>
          </a:lstStyle>
          <a:p>
            <a:pPr lvl="0"/>
            <a:endParaRPr lang="en-US"/>
          </a:p>
        </p:txBody>
      </p:sp>
      <p:sp>
        <p:nvSpPr>
          <p:cNvPr id="76" name="Content Placeholder 2">
            <a:extLst>
              <a:ext uri="{FF2B5EF4-FFF2-40B4-BE49-F238E27FC236}">
                <a16:creationId xmlns:a16="http://schemas.microsoft.com/office/drawing/2014/main" id="{327E764B-B7B9-4F66-BDEC-43797EBE1B28}"/>
              </a:ext>
            </a:extLst>
          </p:cNvPr>
          <p:cNvSpPr>
            <a:spLocks noGrp="1"/>
          </p:cNvSpPr>
          <p:nvPr>
            <p:ph sz="quarter" idx="72"/>
          </p:nvPr>
        </p:nvSpPr>
        <p:spPr>
          <a:xfrm>
            <a:off x="284524" y="5046651"/>
            <a:ext cx="1292225" cy="153888"/>
          </a:xfrm>
        </p:spPr>
        <p:txBody>
          <a:bodyPr/>
          <a:lstStyle>
            <a:lvl1pPr marL="0" indent="0">
              <a:buNone/>
              <a:defRPr sz="1000"/>
            </a:lvl1pPr>
          </a:lstStyle>
          <a:p>
            <a:pPr lvl="0"/>
            <a:endParaRPr lang="en-US"/>
          </a:p>
        </p:txBody>
      </p:sp>
      <p:sp>
        <p:nvSpPr>
          <p:cNvPr id="77" name="Content Placeholder 2">
            <a:extLst>
              <a:ext uri="{FF2B5EF4-FFF2-40B4-BE49-F238E27FC236}">
                <a16:creationId xmlns:a16="http://schemas.microsoft.com/office/drawing/2014/main" id="{141E972D-6F6F-4126-A21D-11E88F19838E}"/>
              </a:ext>
            </a:extLst>
          </p:cNvPr>
          <p:cNvSpPr>
            <a:spLocks noGrp="1"/>
          </p:cNvSpPr>
          <p:nvPr>
            <p:ph sz="quarter" idx="73"/>
          </p:nvPr>
        </p:nvSpPr>
        <p:spPr>
          <a:xfrm>
            <a:off x="1921270" y="4979750"/>
            <a:ext cx="1292225" cy="153888"/>
          </a:xfrm>
        </p:spPr>
        <p:txBody>
          <a:bodyPr/>
          <a:lstStyle>
            <a:lvl1pPr marL="0" indent="0">
              <a:buNone/>
              <a:defRPr sz="1000"/>
            </a:lvl1pPr>
          </a:lstStyle>
          <a:p>
            <a:pPr lvl="0"/>
            <a:endParaRPr lang="en-US"/>
          </a:p>
        </p:txBody>
      </p:sp>
      <p:sp>
        <p:nvSpPr>
          <p:cNvPr id="54" name="Table Placeholder 53">
            <a:extLst>
              <a:ext uri="{FF2B5EF4-FFF2-40B4-BE49-F238E27FC236}">
                <a16:creationId xmlns:a16="http://schemas.microsoft.com/office/drawing/2014/main" id="{BAED7102-0011-495C-85F3-4AD509C3562C}"/>
              </a:ext>
            </a:extLst>
          </p:cNvPr>
          <p:cNvSpPr>
            <a:spLocks noGrp="1"/>
          </p:cNvSpPr>
          <p:nvPr>
            <p:ph type="tbl" sz="quarter" idx="74"/>
          </p:nvPr>
        </p:nvSpPr>
        <p:spPr>
          <a:xfrm>
            <a:off x="9888826" y="1570732"/>
            <a:ext cx="1843087" cy="533400"/>
          </a:xfrm>
        </p:spPr>
        <p:txBody>
          <a:bodyPr/>
          <a:lstStyle/>
          <a:p>
            <a:endParaRPr lang="en-US"/>
          </a:p>
        </p:txBody>
      </p:sp>
      <p:grpSp>
        <p:nvGrpSpPr>
          <p:cNvPr id="53" name="Group 52">
            <a:extLst>
              <a:ext uri="{FF2B5EF4-FFF2-40B4-BE49-F238E27FC236}">
                <a16:creationId xmlns:a16="http://schemas.microsoft.com/office/drawing/2014/main" id="{81958613-78F6-4364-A59F-A9C720EC7C2A}"/>
              </a:ext>
              <a:ext uri="{C183D7F6-B498-43B3-948B-1728B52AA6E4}">
                <adec:decorative xmlns:adec="http://schemas.microsoft.com/office/drawing/2017/decorative" val="1"/>
              </a:ext>
            </a:extLst>
          </p:cNvPr>
          <p:cNvGrpSpPr/>
          <p:nvPr userDrawn="1"/>
        </p:nvGrpSpPr>
        <p:grpSpPr>
          <a:xfrm>
            <a:off x="152247" y="1450579"/>
            <a:ext cx="11790205" cy="5336653"/>
            <a:chOff x="152247" y="1450579"/>
            <a:chExt cx="11790205" cy="5336653"/>
          </a:xfrm>
        </p:grpSpPr>
        <p:sp>
          <p:nvSpPr>
            <p:cNvPr id="98" name="Rectangle 97">
              <a:extLst>
                <a:ext uri="{FF2B5EF4-FFF2-40B4-BE49-F238E27FC236}">
                  <a16:creationId xmlns:a16="http://schemas.microsoft.com/office/drawing/2014/main" id="{14099D49-800D-48EC-A1DF-DEC5FDE7EDA0}"/>
                </a:ext>
                <a:ext uri="{C183D7F6-B498-43B3-948B-1728B52AA6E4}">
                  <adec:decorative xmlns:adec="http://schemas.microsoft.com/office/drawing/2017/decorative" val="1"/>
                </a:ext>
              </a:extLst>
            </p:cNvPr>
            <p:cNvSpPr/>
            <p:nvPr userDrawn="1"/>
          </p:nvSpPr>
          <p:spPr>
            <a:xfrm>
              <a:off x="152247" y="1450579"/>
              <a:ext cx="11790205" cy="5336653"/>
            </a:xfrm>
            <a:prstGeom prst="rect">
              <a:avLst/>
            </a:prstGeom>
            <a:solidFill>
              <a:srgbClr val="EEEEEE"/>
            </a:solidFill>
            <a:ln>
              <a:noFill/>
            </a:ln>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21336" rIns="0"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srgbClr val="E7E6E6">
                    <a:lumMod val="25000"/>
                  </a:srgbClr>
                </a:solidFill>
                <a:effectLst/>
                <a:uLnTx/>
                <a:uFillTx/>
                <a:latin typeface="Segoe UI" panose="020B0502040204020203" pitchFamily="34" charset="0"/>
                <a:ea typeface="+mn-ea"/>
                <a:cs typeface="Segoe UI" panose="020B0502040204020203" pitchFamily="34" charset="0"/>
              </a:endParaRPr>
            </a:p>
          </p:txBody>
        </p:sp>
        <p:cxnSp>
          <p:nvCxnSpPr>
            <p:cNvPr id="79" name="Straight Connector 78">
              <a:extLst>
                <a:ext uri="{FF2B5EF4-FFF2-40B4-BE49-F238E27FC236}">
                  <a16:creationId xmlns:a16="http://schemas.microsoft.com/office/drawing/2014/main" id="{620D3F4F-4734-4E17-A99B-778987F12DAF}"/>
                </a:ext>
                <a:ext uri="{C183D7F6-B498-43B3-948B-1728B52AA6E4}">
                  <adec:decorative xmlns:adec="http://schemas.microsoft.com/office/drawing/2017/decorative" val="1"/>
                </a:ext>
              </a:extLst>
            </p:cNvPr>
            <p:cNvCxnSpPr/>
            <p:nvPr userDrawn="1"/>
          </p:nvCxnSpPr>
          <p:spPr>
            <a:xfrm>
              <a:off x="2440006" y="2433582"/>
              <a:ext cx="163913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D29C8C74-94ED-403E-8B84-56D4258B42A5}"/>
                </a:ext>
                <a:ext uri="{C183D7F6-B498-43B3-948B-1728B52AA6E4}">
                  <adec:decorative xmlns:adec="http://schemas.microsoft.com/office/drawing/2017/decorative" val="1"/>
                </a:ext>
              </a:extLst>
            </p:cNvPr>
            <p:cNvCxnSpPr>
              <a:cxnSpLocks/>
            </p:cNvCxnSpPr>
            <p:nvPr userDrawn="1"/>
          </p:nvCxnSpPr>
          <p:spPr>
            <a:xfrm>
              <a:off x="4205280" y="2433582"/>
              <a:ext cx="3260968" cy="12700"/>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0F9696-74DA-471D-88F4-F57390FDC3AF}"/>
                </a:ext>
                <a:ext uri="{C183D7F6-B498-43B3-948B-1728B52AA6E4}">
                  <adec:decorative xmlns:adec="http://schemas.microsoft.com/office/drawing/2017/decorative" val="1"/>
                </a:ext>
              </a:extLst>
            </p:cNvPr>
            <p:cNvCxnSpPr/>
            <p:nvPr userDrawn="1"/>
          </p:nvCxnSpPr>
          <p:spPr>
            <a:xfrm>
              <a:off x="9311815" y="2433582"/>
              <a:ext cx="155252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95352F0-DD89-4F4B-BE75-060B04EFB677}"/>
                </a:ext>
                <a:ext uri="{C183D7F6-B498-43B3-948B-1728B52AA6E4}">
                  <adec:decorative xmlns:adec="http://schemas.microsoft.com/office/drawing/2017/decorative" val="1"/>
                </a:ext>
              </a:extLst>
            </p:cNvPr>
            <p:cNvCxnSpPr/>
            <p:nvPr userDrawn="1"/>
          </p:nvCxnSpPr>
          <p:spPr>
            <a:xfrm>
              <a:off x="361559" y="3209047"/>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CAC369-B573-40D1-9DD0-899E0B684136}"/>
                </a:ext>
                <a:ext uri="{C183D7F6-B498-43B3-948B-1728B52AA6E4}">
                  <adec:decorative xmlns:adec="http://schemas.microsoft.com/office/drawing/2017/decorative" val="1"/>
                </a:ext>
              </a:extLst>
            </p:cNvPr>
            <p:cNvCxnSpPr/>
            <p:nvPr userDrawn="1"/>
          </p:nvCxnSpPr>
          <p:spPr>
            <a:xfrm flipV="1">
              <a:off x="7621045" y="2433582"/>
              <a:ext cx="1564633" cy="98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Rettangolo 29">
              <a:extLst>
                <a:ext uri="{FF2B5EF4-FFF2-40B4-BE49-F238E27FC236}">
                  <a16:creationId xmlns:a16="http://schemas.microsoft.com/office/drawing/2014/main" id="{77C1C744-D3BC-4942-BE94-EA49E2955852}"/>
                </a:ext>
                <a:ext uri="{C183D7F6-B498-43B3-948B-1728B52AA6E4}">
                  <adec:decorative xmlns:adec="http://schemas.microsoft.com/office/drawing/2017/decorative" val="1"/>
                </a:ext>
              </a:extLst>
            </p:cNvPr>
            <p:cNvSpPr/>
            <p:nvPr userDrawn="1"/>
          </p:nvSpPr>
          <p:spPr>
            <a:xfrm>
              <a:off x="3502135"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5" name="Rettangolo 29">
              <a:extLst>
                <a:ext uri="{FF2B5EF4-FFF2-40B4-BE49-F238E27FC236}">
                  <a16:creationId xmlns:a16="http://schemas.microsoft.com/office/drawing/2014/main" id="{9830395A-8027-4673-93F9-63CA8E33921D}"/>
                </a:ext>
                <a:ext uri="{C183D7F6-B498-43B3-948B-1728B52AA6E4}">
                  <adec:decorative xmlns:adec="http://schemas.microsoft.com/office/drawing/2017/decorative" val="1"/>
                </a:ext>
              </a:extLst>
            </p:cNvPr>
            <p:cNvSpPr/>
            <p:nvPr userDrawn="1"/>
          </p:nvSpPr>
          <p:spPr>
            <a:xfrm>
              <a:off x="5194430" y="3640110"/>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6" name="Rettangolo 29">
              <a:extLst>
                <a:ext uri="{FF2B5EF4-FFF2-40B4-BE49-F238E27FC236}">
                  <a16:creationId xmlns:a16="http://schemas.microsoft.com/office/drawing/2014/main" id="{04A2FEE0-FF1F-47A3-A085-D0BCBFB50B80}"/>
                </a:ext>
                <a:ext uri="{C183D7F6-B498-43B3-948B-1728B52AA6E4}">
                  <adec:decorative xmlns:adec="http://schemas.microsoft.com/office/drawing/2017/decorative" val="1"/>
                </a:ext>
              </a:extLst>
            </p:cNvPr>
            <p:cNvSpPr/>
            <p:nvPr userDrawn="1"/>
          </p:nvSpPr>
          <p:spPr>
            <a:xfrm>
              <a:off x="6889240"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7" name="Rettangolo 29">
              <a:extLst>
                <a:ext uri="{FF2B5EF4-FFF2-40B4-BE49-F238E27FC236}">
                  <a16:creationId xmlns:a16="http://schemas.microsoft.com/office/drawing/2014/main" id="{19D1D48C-66C8-40D7-9835-E18AD2A2C5CF}"/>
                </a:ext>
                <a:ext uri="{C183D7F6-B498-43B3-948B-1728B52AA6E4}">
                  <adec:decorative xmlns:adec="http://schemas.microsoft.com/office/drawing/2017/decorative" val="1"/>
                </a:ext>
              </a:extLst>
            </p:cNvPr>
            <p:cNvSpPr/>
            <p:nvPr userDrawn="1"/>
          </p:nvSpPr>
          <p:spPr>
            <a:xfrm>
              <a:off x="8608666"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8" name="Rettangolo 29">
              <a:extLst>
                <a:ext uri="{FF2B5EF4-FFF2-40B4-BE49-F238E27FC236}">
                  <a16:creationId xmlns:a16="http://schemas.microsoft.com/office/drawing/2014/main" id="{294009B3-8CEB-4A04-A00D-73F0E3650628}"/>
                </a:ext>
                <a:ext uri="{C183D7F6-B498-43B3-948B-1728B52AA6E4}">
                  <adec:decorative xmlns:adec="http://schemas.microsoft.com/office/drawing/2017/decorative" val="1"/>
                </a:ext>
              </a:extLst>
            </p:cNvPr>
            <p:cNvSpPr/>
            <p:nvPr userDrawn="1"/>
          </p:nvSpPr>
          <p:spPr>
            <a:xfrm>
              <a:off x="10314989" y="3639501"/>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9" name="Rettangolo 29">
              <a:extLst>
                <a:ext uri="{FF2B5EF4-FFF2-40B4-BE49-F238E27FC236}">
                  <a16:creationId xmlns:a16="http://schemas.microsoft.com/office/drawing/2014/main" id="{7A73E6BC-E06A-45CC-BF55-3CF19315A71B}"/>
                </a:ext>
                <a:ext uri="{C183D7F6-B498-43B3-948B-1728B52AA6E4}">
                  <adec:decorative xmlns:adec="http://schemas.microsoft.com/office/drawing/2017/decorative" val="1"/>
                </a:ext>
              </a:extLst>
            </p:cNvPr>
            <p:cNvSpPr/>
            <p:nvPr userDrawn="1"/>
          </p:nvSpPr>
          <p:spPr>
            <a:xfrm>
              <a:off x="1726077"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EF9F53B2-4429-4E9B-A46D-2E890D1ABC00}"/>
                </a:ext>
                <a:ext uri="{C183D7F6-B498-43B3-948B-1728B52AA6E4}">
                  <adec:decorative xmlns:adec="http://schemas.microsoft.com/office/drawing/2017/decorative" val="1"/>
                </a:ext>
              </a:extLst>
            </p:cNvPr>
            <p:cNvCxnSpPr/>
            <p:nvPr userDrawn="1"/>
          </p:nvCxnSpPr>
          <p:spPr>
            <a:xfrm>
              <a:off x="391724" y="4203275"/>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044C4F3-EC4B-4D41-A2C3-27106BF65671}"/>
                </a:ext>
                <a:ext uri="{C183D7F6-B498-43B3-948B-1728B52AA6E4}">
                  <adec:decorative xmlns:adec="http://schemas.microsoft.com/office/drawing/2017/decorative" val="1"/>
                </a:ext>
              </a:extLst>
            </p:cNvPr>
            <p:cNvCxnSpPr>
              <a:cxnSpLocks/>
            </p:cNvCxnSpPr>
            <p:nvPr userDrawn="1"/>
          </p:nvCxnSpPr>
          <p:spPr>
            <a:xfrm>
              <a:off x="4977456"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C7BB2A-52A1-46FA-A05B-059F7AEE8F4A}"/>
                </a:ext>
                <a:ext uri="{C183D7F6-B498-43B3-948B-1728B52AA6E4}">
                  <adec:decorative xmlns:adec="http://schemas.microsoft.com/office/drawing/2017/decorative" val="1"/>
                </a:ext>
              </a:extLst>
            </p:cNvPr>
            <p:cNvCxnSpPr>
              <a:cxnSpLocks/>
            </p:cNvCxnSpPr>
            <p:nvPr userDrawn="1"/>
          </p:nvCxnSpPr>
          <p:spPr>
            <a:xfrm>
              <a:off x="668505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85714A0-3A32-4ADD-A189-8EDDFB871495}"/>
                </a:ext>
                <a:ext uri="{C183D7F6-B498-43B3-948B-1728B52AA6E4}">
                  <adec:decorative xmlns:adec="http://schemas.microsoft.com/office/drawing/2017/decorative" val="1"/>
                </a:ext>
              </a:extLst>
            </p:cNvPr>
            <p:cNvCxnSpPr>
              <a:cxnSpLocks/>
            </p:cNvCxnSpPr>
            <p:nvPr userDrawn="1"/>
          </p:nvCxnSpPr>
          <p:spPr>
            <a:xfrm>
              <a:off x="8392644"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4B681EA-D689-4183-A174-D537391D4F7A}"/>
                </a:ext>
                <a:ext uri="{C183D7F6-B498-43B3-948B-1728B52AA6E4}">
                  <adec:decorative xmlns:adec="http://schemas.microsoft.com/office/drawing/2017/decorative" val="1"/>
                </a:ext>
              </a:extLst>
            </p:cNvPr>
            <p:cNvCxnSpPr>
              <a:cxnSpLocks/>
            </p:cNvCxnSpPr>
            <p:nvPr userDrawn="1"/>
          </p:nvCxnSpPr>
          <p:spPr>
            <a:xfrm>
              <a:off x="1010024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063AA3-03E9-47F9-B469-A36088F3B3E0}"/>
                </a:ext>
                <a:ext uri="{C183D7F6-B498-43B3-948B-1728B52AA6E4}">
                  <adec:decorative xmlns:adec="http://schemas.microsoft.com/office/drawing/2017/decorative" val="1"/>
                </a:ext>
              </a:extLst>
            </p:cNvPr>
            <p:cNvCxnSpPr>
              <a:cxnSpLocks/>
            </p:cNvCxnSpPr>
            <p:nvPr userDrawn="1"/>
          </p:nvCxnSpPr>
          <p:spPr>
            <a:xfrm>
              <a:off x="1562268"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4C4266F-5D1A-498C-8845-7523D7EE3176}"/>
                </a:ext>
                <a:ext uri="{C183D7F6-B498-43B3-948B-1728B52AA6E4}">
                  <adec:decorative xmlns:adec="http://schemas.microsoft.com/office/drawing/2017/decorative" val="1"/>
                </a:ext>
              </a:extLst>
            </p:cNvPr>
            <p:cNvCxnSpPr>
              <a:cxnSpLocks/>
            </p:cNvCxnSpPr>
            <p:nvPr userDrawn="1"/>
          </p:nvCxnSpPr>
          <p:spPr>
            <a:xfrm>
              <a:off x="3269862"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3294093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2F15-316F-444E-8121-FC537B2C0B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4304C1-6C21-4678-89F0-A338BD3C922B}"/>
              </a:ext>
            </a:extLst>
          </p:cNvPr>
          <p:cNvSpPr>
            <a:spLocks noGrp="1"/>
          </p:cNvSpPr>
          <p:nvPr>
            <p:ph sz="quarter" idx="10"/>
          </p:nvPr>
        </p:nvSpPr>
        <p:spPr>
          <a:xfrm>
            <a:off x="938213" y="1431509"/>
            <a:ext cx="1968500" cy="301749"/>
          </a:xfrm>
        </p:spPr>
        <p:txBody>
          <a:bodyPr/>
          <a:lstStyle>
            <a:lvl1pPr marL="0" indent="0">
              <a:buNone/>
              <a:defRPr/>
            </a:lvl1pPr>
          </a:lstStyle>
          <a:p>
            <a:pPr lvl="0"/>
            <a:endParaRPr lang="en-US"/>
          </a:p>
        </p:txBody>
      </p:sp>
    </p:spTree>
    <p:custDataLst>
      <p:tags r:id="rId1"/>
    </p:custDataLst>
    <p:extLst>
      <p:ext uri="{BB962C8B-B14F-4D97-AF65-F5344CB8AC3E}">
        <p14:creationId xmlns:p14="http://schemas.microsoft.com/office/powerpoint/2010/main" val="236093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513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12662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4146429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99930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2406273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1695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48094776"/>
      </p:ext>
    </p:extLst>
  </p:cSld>
  <p:clrMapOvr>
    <a:masterClrMapping/>
  </p:clrMapOvr>
  <p:transition>
    <p:fade/>
  </p:transition>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0/4/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420012347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9609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7915421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8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DAC7C61-F0F2-4B01-8431-5031DD4100DD}"/>
              </a:ext>
            </a:extLst>
          </p:cNvPr>
          <p:cNvSpPr>
            <a:spLocks noGrp="1"/>
          </p:cNvSpPr>
          <p:nvPr>
            <p:ph sz="quarter" idx="11"/>
          </p:nvPr>
        </p:nvSpPr>
        <p:spPr>
          <a:xfrm>
            <a:off x="5303839" y="914400"/>
            <a:ext cx="1660842"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1BAEAF96-E419-49D2-94FD-9793688E1BDB}"/>
              </a:ext>
            </a:extLst>
          </p:cNvPr>
          <p:cNvSpPr>
            <a:spLocks noGrp="1"/>
          </p:cNvSpPr>
          <p:nvPr>
            <p:ph sz="quarter" idx="12"/>
          </p:nvPr>
        </p:nvSpPr>
        <p:spPr>
          <a:xfrm>
            <a:off x="7315519" y="914400"/>
            <a:ext cx="166084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1412633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7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2BAD3862-371F-447C-B136-DCA6D5FCBB07}"/>
              </a:ext>
            </a:extLst>
          </p:cNvPr>
          <p:cNvSpPr>
            <a:spLocks noGrp="1"/>
          </p:cNvSpPr>
          <p:nvPr>
            <p:ph sz="quarter" idx="11"/>
          </p:nvPr>
        </p:nvSpPr>
        <p:spPr>
          <a:xfrm>
            <a:off x="5334000" y="884238"/>
            <a:ext cx="1493520" cy="700722"/>
          </a:xfrm>
        </p:spPr>
        <p:txBody>
          <a:bodyPr/>
          <a:lstStyle/>
          <a:p>
            <a:pPr lvl="0"/>
            <a:endParaRPr lang="en-US"/>
          </a:p>
        </p:txBody>
      </p:sp>
      <p:sp>
        <p:nvSpPr>
          <p:cNvPr id="7" name="Content Placeholder 5">
            <a:extLst>
              <a:ext uri="{FF2B5EF4-FFF2-40B4-BE49-F238E27FC236}">
                <a16:creationId xmlns:a16="http://schemas.microsoft.com/office/drawing/2014/main" id="{91A6BB01-8BE8-4470-92B5-2AA973ECCBE8}"/>
              </a:ext>
            </a:extLst>
          </p:cNvPr>
          <p:cNvSpPr>
            <a:spLocks noGrp="1"/>
          </p:cNvSpPr>
          <p:nvPr>
            <p:ph sz="quarter" idx="12"/>
          </p:nvPr>
        </p:nvSpPr>
        <p:spPr>
          <a:xfrm>
            <a:off x="7089141" y="884238"/>
            <a:ext cx="1493520" cy="700722"/>
          </a:xfrm>
        </p:spPr>
        <p:txBody>
          <a:bodyPr/>
          <a:lstStyle/>
          <a:p>
            <a:pPr lvl="0"/>
            <a:endParaRPr lang="en-US"/>
          </a:p>
        </p:txBody>
      </p:sp>
    </p:spTree>
    <p:extLst>
      <p:ext uri="{BB962C8B-B14F-4D97-AF65-F5344CB8AC3E}">
        <p14:creationId xmlns:p14="http://schemas.microsoft.com/office/powerpoint/2010/main" val="3519726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E7CEB0CD-58D3-4BA3-86BC-DC1779712798}"/>
              </a:ext>
            </a:extLst>
          </p:cNvPr>
          <p:cNvSpPr>
            <a:spLocks noGrp="1"/>
          </p:cNvSpPr>
          <p:nvPr>
            <p:ph sz="quarter" idx="11"/>
          </p:nvPr>
        </p:nvSpPr>
        <p:spPr>
          <a:xfrm>
            <a:off x="5135563" y="701675"/>
            <a:ext cx="1265237" cy="639445"/>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2DEEBC4D-8034-4A33-B399-39C8B16F0B74}"/>
              </a:ext>
            </a:extLst>
          </p:cNvPr>
          <p:cNvSpPr>
            <a:spLocks noGrp="1"/>
          </p:cNvSpPr>
          <p:nvPr>
            <p:ph sz="quarter" idx="12"/>
          </p:nvPr>
        </p:nvSpPr>
        <p:spPr>
          <a:xfrm>
            <a:off x="6570664" y="716915"/>
            <a:ext cx="1265237" cy="639445"/>
          </a:xfrm>
        </p:spPr>
        <p:txBody>
          <a:bodyPr/>
          <a:lstStyle>
            <a:lvl1pPr marL="0" indent="0">
              <a:buNone/>
              <a:defRPr/>
            </a:lvl1pPr>
          </a:lstStyle>
          <a:p>
            <a:pPr lvl="0"/>
            <a:endParaRPr lang="en-US"/>
          </a:p>
        </p:txBody>
      </p:sp>
    </p:spTree>
    <p:extLst>
      <p:ext uri="{BB962C8B-B14F-4D97-AF65-F5344CB8AC3E}">
        <p14:creationId xmlns:p14="http://schemas.microsoft.com/office/powerpoint/2010/main" val="3691014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DEF64E04-F88A-4379-ACC8-3B1152F8B117}"/>
              </a:ext>
            </a:extLst>
          </p:cNvPr>
          <p:cNvSpPr>
            <a:spLocks noGrp="1"/>
          </p:cNvSpPr>
          <p:nvPr>
            <p:ph sz="quarter" idx="11"/>
          </p:nvPr>
        </p:nvSpPr>
        <p:spPr>
          <a:xfrm>
            <a:off x="5089525" y="1387475"/>
            <a:ext cx="1417955"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EB1D4CA5-363E-4D95-B6FF-817263BD6BED}"/>
              </a:ext>
            </a:extLst>
          </p:cNvPr>
          <p:cNvSpPr>
            <a:spLocks noGrp="1"/>
          </p:cNvSpPr>
          <p:nvPr>
            <p:ph sz="quarter" idx="12"/>
          </p:nvPr>
        </p:nvSpPr>
        <p:spPr>
          <a:xfrm>
            <a:off x="6855189" y="1387474"/>
            <a:ext cx="141795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2235935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4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7A630F09-4040-4AC2-B008-CF2C80AE1575}"/>
              </a:ext>
            </a:extLst>
          </p:cNvPr>
          <p:cNvSpPr>
            <a:spLocks noGrp="1"/>
          </p:cNvSpPr>
          <p:nvPr>
            <p:ph sz="quarter" idx="11"/>
          </p:nvPr>
        </p:nvSpPr>
        <p:spPr>
          <a:xfrm>
            <a:off x="5241925" y="669925"/>
            <a:ext cx="185991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935501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B17B607-4527-45EF-B759-241FDCF85A9B}"/>
              </a:ext>
            </a:extLst>
          </p:cNvPr>
          <p:cNvSpPr>
            <a:spLocks noGrp="1"/>
          </p:cNvSpPr>
          <p:nvPr>
            <p:ph sz="quarter" idx="11"/>
          </p:nvPr>
        </p:nvSpPr>
        <p:spPr>
          <a:xfrm>
            <a:off x="4938713" y="960438"/>
            <a:ext cx="2406650"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438851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595A4E34-EADA-4278-A62E-764AD85FF360}"/>
              </a:ext>
            </a:extLst>
          </p:cNvPr>
          <p:cNvSpPr>
            <a:spLocks noGrp="1"/>
          </p:cNvSpPr>
          <p:nvPr>
            <p:ph sz="quarter" idx="11"/>
          </p:nvPr>
        </p:nvSpPr>
        <p:spPr>
          <a:xfrm>
            <a:off x="5438775" y="1476375"/>
            <a:ext cx="1993656"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848913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4D1667EE-7C46-43DE-9D58-2DADF9EEB26B}"/>
              </a:ext>
            </a:extLst>
          </p:cNvPr>
          <p:cNvSpPr>
            <a:spLocks noGrp="1"/>
          </p:cNvSpPr>
          <p:nvPr>
            <p:ph sz="quarter" idx="11"/>
          </p:nvPr>
        </p:nvSpPr>
        <p:spPr>
          <a:xfrm>
            <a:off x="5040314" y="515938"/>
            <a:ext cx="1852856" cy="679816"/>
          </a:xfrm>
        </p:spPr>
        <p:txBody>
          <a:bodyPr/>
          <a:lstStyle/>
          <a:p>
            <a:pPr lvl="0"/>
            <a:endParaRPr lang="en-US"/>
          </a:p>
        </p:txBody>
      </p:sp>
      <p:sp>
        <p:nvSpPr>
          <p:cNvPr id="7" name="Content Placeholder 5">
            <a:extLst>
              <a:ext uri="{FF2B5EF4-FFF2-40B4-BE49-F238E27FC236}">
                <a16:creationId xmlns:a16="http://schemas.microsoft.com/office/drawing/2014/main" id="{D0848347-24D7-4206-9D95-E03AB590BC23}"/>
              </a:ext>
            </a:extLst>
          </p:cNvPr>
          <p:cNvSpPr>
            <a:spLocks noGrp="1"/>
          </p:cNvSpPr>
          <p:nvPr>
            <p:ph sz="quarter" idx="12"/>
          </p:nvPr>
        </p:nvSpPr>
        <p:spPr>
          <a:xfrm>
            <a:off x="7346716" y="515938"/>
            <a:ext cx="1852856" cy="679816"/>
          </a:xfrm>
        </p:spPr>
        <p:txBody>
          <a:bodyPr/>
          <a:lstStyle/>
          <a:p>
            <a:pPr lvl="0"/>
            <a:endParaRPr lang="en-US"/>
          </a:p>
        </p:txBody>
      </p:sp>
      <p:sp>
        <p:nvSpPr>
          <p:cNvPr id="8" name="Content Placeholder 5">
            <a:extLst>
              <a:ext uri="{FF2B5EF4-FFF2-40B4-BE49-F238E27FC236}">
                <a16:creationId xmlns:a16="http://schemas.microsoft.com/office/drawing/2014/main" id="{0955B842-540E-489D-8C27-56673F38DDB1}"/>
              </a:ext>
            </a:extLst>
          </p:cNvPr>
          <p:cNvSpPr>
            <a:spLocks noGrp="1"/>
          </p:cNvSpPr>
          <p:nvPr>
            <p:ph sz="quarter" idx="13"/>
          </p:nvPr>
        </p:nvSpPr>
        <p:spPr>
          <a:xfrm>
            <a:off x="5040314" y="1524042"/>
            <a:ext cx="1852856" cy="679816"/>
          </a:xfrm>
        </p:spPr>
        <p:txBody>
          <a:bodyPr/>
          <a:lstStyle/>
          <a:p>
            <a:pPr lvl="0"/>
            <a:endParaRPr lang="en-US"/>
          </a:p>
        </p:txBody>
      </p:sp>
      <p:sp>
        <p:nvSpPr>
          <p:cNvPr id="9" name="Content Placeholder 5">
            <a:extLst>
              <a:ext uri="{FF2B5EF4-FFF2-40B4-BE49-F238E27FC236}">
                <a16:creationId xmlns:a16="http://schemas.microsoft.com/office/drawing/2014/main" id="{29E8A8AE-9BE2-4C39-970B-E145E687CA67}"/>
              </a:ext>
            </a:extLst>
          </p:cNvPr>
          <p:cNvSpPr>
            <a:spLocks noGrp="1"/>
          </p:cNvSpPr>
          <p:nvPr>
            <p:ph sz="quarter" idx="14"/>
          </p:nvPr>
        </p:nvSpPr>
        <p:spPr>
          <a:xfrm>
            <a:off x="7346716" y="1524042"/>
            <a:ext cx="1852856" cy="679816"/>
          </a:xfrm>
        </p:spPr>
        <p:txBody>
          <a:bodyPr/>
          <a:lstStyle/>
          <a:p>
            <a:pPr lvl="0"/>
            <a:endParaRPr lang="en-US"/>
          </a:p>
        </p:txBody>
      </p:sp>
    </p:spTree>
    <p:extLst>
      <p:ext uri="{BB962C8B-B14F-4D97-AF65-F5344CB8AC3E}">
        <p14:creationId xmlns:p14="http://schemas.microsoft.com/office/powerpoint/2010/main" val="439891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273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C495CD3-3C81-4331-945F-4BE729EEA495}"/>
              </a:ext>
            </a:extLst>
          </p:cNvPr>
          <p:cNvSpPr>
            <a:spLocks noGrp="1"/>
          </p:cNvSpPr>
          <p:nvPr>
            <p:ph sz="quarter" idx="10"/>
          </p:nvPr>
        </p:nvSpPr>
        <p:spPr>
          <a:xfrm>
            <a:off x="974725" y="1646238"/>
            <a:ext cx="1631315" cy="301749"/>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AC1EDE48-9F13-4C5F-B0A3-C3EAC40CE386}"/>
              </a:ext>
            </a:extLst>
          </p:cNvPr>
          <p:cNvSpPr>
            <a:spLocks noGrp="1"/>
          </p:cNvSpPr>
          <p:nvPr>
            <p:ph sz="quarter" idx="11"/>
          </p:nvPr>
        </p:nvSpPr>
        <p:spPr>
          <a:xfrm>
            <a:off x="2955925" y="1797112"/>
            <a:ext cx="1631315"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6F4EE48A-B0C5-4840-A20D-5627B6BF6832}"/>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tangle: Rounded Corners 6">
            <a:extLst>
              <a:ext uri="{FF2B5EF4-FFF2-40B4-BE49-F238E27FC236}">
                <a16:creationId xmlns:a16="http://schemas.microsoft.com/office/drawing/2014/main" id="{E6892BBF-6304-42EF-B414-7773FD1FC2FB}"/>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Rounded Corners 7">
            <a:extLst>
              <a:ext uri="{FF2B5EF4-FFF2-40B4-BE49-F238E27FC236}">
                <a16:creationId xmlns:a16="http://schemas.microsoft.com/office/drawing/2014/main" id="{2C5074D4-9FFB-4352-98BF-E54BB1DBB99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Rounded Corners 8">
            <a:extLst>
              <a:ext uri="{FF2B5EF4-FFF2-40B4-BE49-F238E27FC236}">
                <a16:creationId xmlns:a16="http://schemas.microsoft.com/office/drawing/2014/main" id="{9A6DD94B-8797-4429-A5CF-F78DD6CC1738}"/>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Rounded Corners 9">
            <a:extLst>
              <a:ext uri="{FF2B5EF4-FFF2-40B4-BE49-F238E27FC236}">
                <a16:creationId xmlns:a16="http://schemas.microsoft.com/office/drawing/2014/main" id="{6FE2691E-02E5-40D7-8A68-69DCC172445F}"/>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6996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6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506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8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9D2635-3253-4958-A40A-EF40598ADB56}"/>
              </a:ext>
            </a:extLst>
          </p:cNvPr>
          <p:cNvSpPr>
            <a:spLocks noGrp="1"/>
          </p:cNvSpPr>
          <p:nvPr>
            <p:ph sz="quarter" idx="14"/>
          </p:nvPr>
        </p:nvSpPr>
        <p:spPr>
          <a:xfrm>
            <a:off x="584201" y="3124200"/>
            <a:ext cx="1137919" cy="472440"/>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7E1FCA6-5234-443A-B0EA-B6C4DE094D9B}"/>
              </a:ext>
            </a:extLst>
          </p:cNvPr>
          <p:cNvSpPr>
            <a:spLocks noGrp="1"/>
          </p:cNvSpPr>
          <p:nvPr>
            <p:ph sz="quarter" idx="15"/>
          </p:nvPr>
        </p:nvSpPr>
        <p:spPr>
          <a:xfrm>
            <a:off x="2052162" y="3192780"/>
            <a:ext cx="1137919" cy="472440"/>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7CF6AD37-2F12-4B9D-BDE1-645D830E9098}"/>
              </a:ext>
            </a:extLst>
          </p:cNvPr>
          <p:cNvSpPr>
            <a:spLocks noGrp="1"/>
          </p:cNvSpPr>
          <p:nvPr>
            <p:ph sz="quarter" idx="16"/>
          </p:nvPr>
        </p:nvSpPr>
        <p:spPr>
          <a:xfrm>
            <a:off x="584201" y="3878580"/>
            <a:ext cx="1137919" cy="472440"/>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5178A02-D1C6-414A-80A4-9B5B7719998E}"/>
              </a:ext>
            </a:extLst>
          </p:cNvPr>
          <p:cNvSpPr>
            <a:spLocks noGrp="1"/>
          </p:cNvSpPr>
          <p:nvPr>
            <p:ph sz="quarter" idx="17"/>
          </p:nvPr>
        </p:nvSpPr>
        <p:spPr>
          <a:xfrm>
            <a:off x="2052162" y="3947160"/>
            <a:ext cx="1137919" cy="472440"/>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928E2059-2D71-4230-81C4-06DFE63F82A6}"/>
              </a:ext>
            </a:extLst>
          </p:cNvPr>
          <p:cNvSpPr>
            <a:spLocks noGrp="1"/>
          </p:cNvSpPr>
          <p:nvPr>
            <p:ph sz="quarter" idx="18"/>
          </p:nvPr>
        </p:nvSpPr>
        <p:spPr>
          <a:xfrm>
            <a:off x="584200" y="4564380"/>
            <a:ext cx="1137919" cy="472440"/>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880D82D9-2F8F-4B22-A6A0-F558B95961FB}"/>
              </a:ext>
            </a:extLst>
          </p:cNvPr>
          <p:cNvSpPr>
            <a:spLocks noGrp="1"/>
          </p:cNvSpPr>
          <p:nvPr>
            <p:ph sz="quarter" idx="19"/>
          </p:nvPr>
        </p:nvSpPr>
        <p:spPr>
          <a:xfrm>
            <a:off x="2052161" y="4632960"/>
            <a:ext cx="1137919" cy="472440"/>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BA849ED8-F5D6-445B-B4E1-250E4CE5BDBA}"/>
              </a:ext>
            </a:extLst>
          </p:cNvPr>
          <p:cNvSpPr>
            <a:spLocks noGrp="1"/>
          </p:cNvSpPr>
          <p:nvPr>
            <p:ph sz="quarter" idx="20"/>
          </p:nvPr>
        </p:nvSpPr>
        <p:spPr>
          <a:xfrm>
            <a:off x="584200" y="5227320"/>
            <a:ext cx="1137919" cy="472440"/>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BBE956D-66CF-4C89-A30D-94358443F829}"/>
              </a:ext>
            </a:extLst>
          </p:cNvPr>
          <p:cNvSpPr>
            <a:spLocks noGrp="1"/>
          </p:cNvSpPr>
          <p:nvPr>
            <p:ph sz="quarter" idx="21"/>
          </p:nvPr>
        </p:nvSpPr>
        <p:spPr>
          <a:xfrm>
            <a:off x="2052161" y="5295900"/>
            <a:ext cx="1137919" cy="472440"/>
          </a:xfrm>
        </p:spPr>
        <p:txBody>
          <a:bodyPr/>
          <a:lstStyle>
            <a:lvl1pPr marL="0" indent="0">
              <a:buNone/>
              <a:defRPr/>
            </a:lvl1pPr>
          </a:lstStyle>
          <a:p>
            <a:pPr lvl="0"/>
            <a:endParaRPr lang="en-US"/>
          </a:p>
        </p:txBody>
      </p:sp>
      <p:sp>
        <p:nvSpPr>
          <p:cNvPr id="15" name="Rectangle: Rounded Corners 14">
            <a:extLst>
              <a:ext uri="{FF2B5EF4-FFF2-40B4-BE49-F238E27FC236}">
                <a16:creationId xmlns:a16="http://schemas.microsoft.com/office/drawing/2014/main" id="{B95B99E2-1197-4B9C-BB0E-DF278B717B84}"/>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F34854C0-2179-49F4-AAC6-C6ABC1FBEEBC}"/>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69178AD4-E9BE-4A09-AD8F-ABBBF83695E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17297063-75EA-48B5-91FB-597527E560CC}"/>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0C1DD62C-2E63-40B7-A097-C5ECF52931AD}"/>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7451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99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59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2C1D51-71AC-4F0A-B855-65CA978B4C52}"/>
              </a:ext>
            </a:extLst>
          </p:cNvPr>
          <p:cNvSpPr>
            <a:spLocks noGrp="1"/>
          </p:cNvSpPr>
          <p:nvPr>
            <p:ph sz="quarter" idx="14"/>
          </p:nvPr>
        </p:nvSpPr>
        <p:spPr>
          <a:xfrm>
            <a:off x="796925" y="3986213"/>
            <a:ext cx="147735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7E31513-2888-4B9B-A58B-194F9A479BA0}"/>
              </a:ext>
            </a:extLst>
          </p:cNvPr>
          <p:cNvSpPr>
            <a:spLocks noGrp="1"/>
          </p:cNvSpPr>
          <p:nvPr>
            <p:ph sz="quarter" idx="15"/>
          </p:nvPr>
        </p:nvSpPr>
        <p:spPr>
          <a:xfrm>
            <a:off x="2451405" y="3986213"/>
            <a:ext cx="147735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0C836865-C714-4EFF-BAC2-43D3255C0A77}"/>
              </a:ext>
            </a:extLst>
          </p:cNvPr>
          <p:cNvSpPr>
            <a:spLocks noGrp="1"/>
          </p:cNvSpPr>
          <p:nvPr>
            <p:ph sz="quarter" idx="16"/>
          </p:nvPr>
        </p:nvSpPr>
        <p:spPr>
          <a:xfrm>
            <a:off x="796925" y="4748793"/>
            <a:ext cx="147735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FDFAE75A-7C65-4E43-8A5D-EBD96C577546}"/>
              </a:ext>
            </a:extLst>
          </p:cNvPr>
          <p:cNvSpPr>
            <a:spLocks noGrp="1"/>
          </p:cNvSpPr>
          <p:nvPr>
            <p:ph sz="quarter" idx="17"/>
          </p:nvPr>
        </p:nvSpPr>
        <p:spPr>
          <a:xfrm>
            <a:off x="5795963" y="4949032"/>
            <a:ext cx="147735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F1312E8C-15AA-4D5C-B964-F23EAC8DAE2E}"/>
              </a:ext>
            </a:extLst>
          </p:cNvPr>
          <p:cNvSpPr>
            <a:spLocks noGrp="1"/>
          </p:cNvSpPr>
          <p:nvPr>
            <p:ph sz="quarter" idx="18"/>
          </p:nvPr>
        </p:nvSpPr>
        <p:spPr>
          <a:xfrm>
            <a:off x="796925" y="5511373"/>
            <a:ext cx="147735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CCE44B26-913A-4C61-A5A0-EB40772105C5}"/>
              </a:ext>
            </a:extLst>
          </p:cNvPr>
          <p:cNvSpPr>
            <a:spLocks noGrp="1"/>
          </p:cNvSpPr>
          <p:nvPr>
            <p:ph sz="quarter" idx="19"/>
          </p:nvPr>
        </p:nvSpPr>
        <p:spPr>
          <a:xfrm>
            <a:off x="2451405" y="5511373"/>
            <a:ext cx="147735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EE9FC37-FFCD-4BB0-A42D-A1A1B16E3E30}"/>
              </a:ext>
            </a:extLst>
          </p:cNvPr>
          <p:cNvSpPr>
            <a:spLocks noGrp="1"/>
          </p:cNvSpPr>
          <p:nvPr>
            <p:ph sz="quarter" idx="20"/>
          </p:nvPr>
        </p:nvSpPr>
        <p:spPr>
          <a:xfrm>
            <a:off x="4141483" y="3926804"/>
            <a:ext cx="147735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8B61128D-7130-42D0-9406-974F73DD665A}"/>
              </a:ext>
            </a:extLst>
          </p:cNvPr>
          <p:cNvSpPr>
            <a:spLocks noGrp="1"/>
          </p:cNvSpPr>
          <p:nvPr>
            <p:ph sz="quarter" idx="21"/>
          </p:nvPr>
        </p:nvSpPr>
        <p:spPr>
          <a:xfrm>
            <a:off x="5795963" y="3926804"/>
            <a:ext cx="147735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9742BF8-F198-4A81-87D3-EE0E70C535CF}"/>
              </a:ext>
            </a:extLst>
          </p:cNvPr>
          <p:cNvSpPr>
            <a:spLocks noGrp="1"/>
          </p:cNvSpPr>
          <p:nvPr>
            <p:ph sz="quarter" idx="22"/>
          </p:nvPr>
        </p:nvSpPr>
        <p:spPr>
          <a:xfrm>
            <a:off x="4141483" y="4949032"/>
            <a:ext cx="147735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3403CBE1-98B1-494F-9FD6-DBAA9C84D0DA}"/>
              </a:ext>
            </a:extLst>
          </p:cNvPr>
          <p:cNvSpPr>
            <a:spLocks noGrp="1"/>
          </p:cNvSpPr>
          <p:nvPr>
            <p:ph sz="quarter" idx="23"/>
          </p:nvPr>
        </p:nvSpPr>
        <p:spPr>
          <a:xfrm>
            <a:off x="2664131" y="4812873"/>
            <a:ext cx="1477352"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D6BD2389-55ED-44F1-868C-0FFC42996BC4}"/>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BF33EE08-FEED-4752-843D-8D4EF809DF11}"/>
              </a:ext>
              <a:ext uri="{C183D7F6-B498-43B3-948B-1728B52AA6E4}">
                <adec:decorative xmlns:adec="http://schemas.microsoft.com/office/drawing/2017/decorative" val="1"/>
              </a:ext>
            </a:extLst>
          </p:cNvPr>
          <p:cNvSpPr/>
          <p:nvPr/>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ctangle: Rounded Corners 27">
            <a:extLst>
              <a:ext uri="{FF2B5EF4-FFF2-40B4-BE49-F238E27FC236}">
                <a16:creationId xmlns:a16="http://schemas.microsoft.com/office/drawing/2014/main" id="{A51D7C95-94F4-47EB-9251-EFA8619E58C9}"/>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Rectangle: Rounded Corners 30">
            <a:extLst>
              <a:ext uri="{FF2B5EF4-FFF2-40B4-BE49-F238E27FC236}">
                <a16:creationId xmlns:a16="http://schemas.microsoft.com/office/drawing/2014/main" id="{BC6962E5-EAD9-4F7F-ABF0-EFB9580227F7}"/>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Rectangle: Rounded Corners 33">
            <a:extLst>
              <a:ext uri="{FF2B5EF4-FFF2-40B4-BE49-F238E27FC236}">
                <a16:creationId xmlns:a16="http://schemas.microsoft.com/office/drawing/2014/main" id="{8622768A-B5A0-4568-B60D-0437E8169063}"/>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180977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704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909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A13766-2E13-408B-BDA3-4E382C06D831}"/>
              </a:ext>
            </a:extLst>
          </p:cNvPr>
          <p:cNvSpPr>
            <a:spLocks noGrp="1"/>
          </p:cNvSpPr>
          <p:nvPr>
            <p:ph sz="quarter" idx="14"/>
          </p:nvPr>
        </p:nvSpPr>
        <p:spPr>
          <a:xfrm>
            <a:off x="582613" y="3550320"/>
            <a:ext cx="1444308"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D432C012-FBD9-4BDA-9A61-AB3A4D7B60CA}"/>
              </a:ext>
            </a:extLst>
          </p:cNvPr>
          <p:cNvSpPr>
            <a:spLocks noGrp="1"/>
          </p:cNvSpPr>
          <p:nvPr>
            <p:ph sz="quarter" idx="15"/>
          </p:nvPr>
        </p:nvSpPr>
        <p:spPr>
          <a:xfrm>
            <a:off x="2331721" y="3550320"/>
            <a:ext cx="1444308"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C1DC53E8-05CC-4704-B21E-33FEA0E47DD7}"/>
              </a:ext>
            </a:extLst>
          </p:cNvPr>
          <p:cNvSpPr>
            <a:spLocks noGrp="1"/>
          </p:cNvSpPr>
          <p:nvPr>
            <p:ph sz="quarter" idx="16"/>
          </p:nvPr>
        </p:nvSpPr>
        <p:spPr>
          <a:xfrm>
            <a:off x="582613" y="4112074"/>
            <a:ext cx="1444308"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3688F31-FE39-42BC-AA93-C8B4D40807B6}"/>
              </a:ext>
            </a:extLst>
          </p:cNvPr>
          <p:cNvSpPr>
            <a:spLocks noGrp="1"/>
          </p:cNvSpPr>
          <p:nvPr>
            <p:ph sz="quarter" idx="17"/>
          </p:nvPr>
        </p:nvSpPr>
        <p:spPr>
          <a:xfrm>
            <a:off x="2331721" y="4112074"/>
            <a:ext cx="1444308"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CD0AEA88-31C6-4FF2-922C-C469589F07E9}"/>
              </a:ext>
            </a:extLst>
          </p:cNvPr>
          <p:cNvSpPr>
            <a:spLocks noGrp="1"/>
          </p:cNvSpPr>
          <p:nvPr>
            <p:ph sz="quarter" idx="18"/>
          </p:nvPr>
        </p:nvSpPr>
        <p:spPr>
          <a:xfrm>
            <a:off x="582613" y="4673828"/>
            <a:ext cx="1444308"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B5DDBF0-7874-4D59-A67E-06F9DA5B4377}"/>
              </a:ext>
            </a:extLst>
          </p:cNvPr>
          <p:cNvSpPr>
            <a:spLocks noGrp="1"/>
          </p:cNvSpPr>
          <p:nvPr>
            <p:ph sz="quarter" idx="19"/>
          </p:nvPr>
        </p:nvSpPr>
        <p:spPr>
          <a:xfrm>
            <a:off x="2331721" y="4673828"/>
            <a:ext cx="1444308"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A5BFC4C-D1AF-4E62-811D-E2F6277647EC}"/>
              </a:ext>
            </a:extLst>
          </p:cNvPr>
          <p:cNvSpPr>
            <a:spLocks noGrp="1"/>
          </p:cNvSpPr>
          <p:nvPr>
            <p:ph sz="quarter" idx="20"/>
          </p:nvPr>
        </p:nvSpPr>
        <p:spPr>
          <a:xfrm>
            <a:off x="582613" y="5272025"/>
            <a:ext cx="1444308"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56EF7013-4116-437F-A042-03132172B00A}"/>
              </a:ext>
            </a:extLst>
          </p:cNvPr>
          <p:cNvSpPr>
            <a:spLocks noGrp="1"/>
          </p:cNvSpPr>
          <p:nvPr>
            <p:ph sz="quarter" idx="21"/>
          </p:nvPr>
        </p:nvSpPr>
        <p:spPr>
          <a:xfrm>
            <a:off x="2331721" y="5272025"/>
            <a:ext cx="1444308"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89CD8A4-2A5B-44F9-BAE7-9A3E0B2A8AC5}"/>
              </a:ext>
            </a:extLst>
          </p:cNvPr>
          <p:cNvSpPr>
            <a:spLocks noGrp="1"/>
          </p:cNvSpPr>
          <p:nvPr>
            <p:ph sz="quarter" idx="22"/>
          </p:nvPr>
        </p:nvSpPr>
        <p:spPr>
          <a:xfrm>
            <a:off x="582613" y="5870222"/>
            <a:ext cx="1444308"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B3772541-788F-4D1C-BBA3-E8FE786E3B10}"/>
              </a:ext>
            </a:extLst>
          </p:cNvPr>
          <p:cNvSpPr>
            <a:spLocks noGrp="1"/>
          </p:cNvSpPr>
          <p:nvPr>
            <p:ph sz="quarter" idx="23"/>
          </p:nvPr>
        </p:nvSpPr>
        <p:spPr>
          <a:xfrm>
            <a:off x="2331721" y="5870222"/>
            <a:ext cx="1444308" cy="301749"/>
          </a:xfrm>
        </p:spPr>
        <p:txBody>
          <a:bodyPr/>
          <a:lstStyle>
            <a:lvl1pPr marL="0" indent="0">
              <a:buNone/>
              <a:defRPr/>
            </a:lvl1pPr>
          </a:lstStyle>
          <a:p>
            <a:pPr lvl="0"/>
            <a:endParaRPr lang="en-US"/>
          </a:p>
        </p:txBody>
      </p:sp>
      <p:sp>
        <p:nvSpPr>
          <p:cNvPr id="17" name="Rectangle: Rounded Corners 16">
            <a:extLst>
              <a:ext uri="{FF2B5EF4-FFF2-40B4-BE49-F238E27FC236}">
                <a16:creationId xmlns:a16="http://schemas.microsoft.com/office/drawing/2014/main" id="{7F04CD3B-E436-4F9D-8800-768264C20938}"/>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E859C5B4-A5E0-4D5F-BA34-9108C6B2B5E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75E0F229-CFC9-492D-B24F-C748F1802DAC}"/>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0" name="Rectangle: Rounded Corners 19">
            <a:extLst>
              <a:ext uri="{FF2B5EF4-FFF2-40B4-BE49-F238E27FC236}">
                <a16:creationId xmlns:a16="http://schemas.microsoft.com/office/drawing/2014/main" id="{E932AD40-EDE0-40F5-B3D4-CFEF99FD9D35}"/>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Rounded Corners 20">
            <a:extLst>
              <a:ext uri="{FF2B5EF4-FFF2-40B4-BE49-F238E27FC236}">
                <a16:creationId xmlns:a16="http://schemas.microsoft.com/office/drawing/2014/main" id="{59457F9F-D35C-4761-807E-29BE90587BD4}"/>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295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3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84774EA-A640-4725-844F-15EDB8EA7F3B}"/>
              </a:ext>
            </a:extLst>
          </p:cNvPr>
          <p:cNvSpPr>
            <a:spLocks noGrp="1"/>
          </p:cNvSpPr>
          <p:nvPr>
            <p:ph sz="quarter" idx="10"/>
          </p:nvPr>
        </p:nvSpPr>
        <p:spPr>
          <a:xfrm>
            <a:off x="588963" y="1616075"/>
            <a:ext cx="1544637"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E5F5671-1ABF-443D-9E23-792494C78963}"/>
              </a:ext>
            </a:extLst>
          </p:cNvPr>
          <p:cNvSpPr>
            <a:spLocks noGrp="1"/>
          </p:cNvSpPr>
          <p:nvPr>
            <p:ph sz="quarter" idx="11"/>
          </p:nvPr>
        </p:nvSpPr>
        <p:spPr>
          <a:xfrm>
            <a:off x="2402523" y="1616075"/>
            <a:ext cx="1544637"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8FC3717-30F6-4A70-9D9E-06CAD2D61931}"/>
              </a:ext>
            </a:extLst>
          </p:cNvPr>
          <p:cNvSpPr>
            <a:spLocks noGrp="1"/>
          </p:cNvSpPr>
          <p:nvPr>
            <p:ph sz="quarter" idx="12"/>
          </p:nvPr>
        </p:nvSpPr>
        <p:spPr>
          <a:xfrm>
            <a:off x="588963" y="2220952"/>
            <a:ext cx="1544637"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39AE4B3-0701-4BE9-9BAA-8AB9111D48A5}"/>
              </a:ext>
            </a:extLst>
          </p:cNvPr>
          <p:cNvSpPr>
            <a:spLocks noGrp="1"/>
          </p:cNvSpPr>
          <p:nvPr>
            <p:ph sz="quarter" idx="13"/>
          </p:nvPr>
        </p:nvSpPr>
        <p:spPr>
          <a:xfrm>
            <a:off x="2402523" y="2220952"/>
            <a:ext cx="1544637"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7AB0CBAD-4C26-4878-A3C6-B4B0A03CEFDB}"/>
              </a:ext>
            </a:extLst>
          </p:cNvPr>
          <p:cNvSpPr>
            <a:spLocks noGrp="1"/>
          </p:cNvSpPr>
          <p:nvPr>
            <p:ph sz="quarter" idx="14"/>
          </p:nvPr>
        </p:nvSpPr>
        <p:spPr>
          <a:xfrm>
            <a:off x="588963" y="2825829"/>
            <a:ext cx="1544637"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0296E62-F650-42DC-9940-56EE334CA922}"/>
              </a:ext>
            </a:extLst>
          </p:cNvPr>
          <p:cNvSpPr>
            <a:spLocks noGrp="1"/>
          </p:cNvSpPr>
          <p:nvPr>
            <p:ph sz="quarter" idx="15"/>
          </p:nvPr>
        </p:nvSpPr>
        <p:spPr>
          <a:xfrm>
            <a:off x="2402523" y="2825829"/>
            <a:ext cx="1544637"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C7FDA3D-D462-4CEA-A49E-5D8E2E33E985}"/>
              </a:ext>
            </a:extLst>
          </p:cNvPr>
          <p:cNvSpPr>
            <a:spLocks noGrp="1"/>
          </p:cNvSpPr>
          <p:nvPr>
            <p:ph sz="quarter" idx="16"/>
          </p:nvPr>
        </p:nvSpPr>
        <p:spPr>
          <a:xfrm>
            <a:off x="588963" y="3531266"/>
            <a:ext cx="1544637"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1986E4D-6F21-4006-9104-C6CC708EFF9C}"/>
              </a:ext>
            </a:extLst>
          </p:cNvPr>
          <p:cNvSpPr>
            <a:spLocks noGrp="1"/>
          </p:cNvSpPr>
          <p:nvPr>
            <p:ph sz="quarter" idx="17"/>
          </p:nvPr>
        </p:nvSpPr>
        <p:spPr>
          <a:xfrm>
            <a:off x="2402523" y="3531266"/>
            <a:ext cx="1544637" cy="301749"/>
          </a:xfrm>
        </p:spPr>
        <p:txBody>
          <a:bodyPr/>
          <a:lstStyle>
            <a:lvl1pPr marL="0" indent="0">
              <a:buNone/>
              <a:defRPr/>
            </a:lvl1pPr>
          </a:lstStyle>
          <a:p>
            <a:pPr lvl="0"/>
            <a:endParaRPr lang="en-US"/>
          </a:p>
        </p:txBody>
      </p:sp>
      <p:sp>
        <p:nvSpPr>
          <p:cNvPr id="5" name="Text Placeholder 4">
            <a:extLst>
              <a:ext uri="{FF2B5EF4-FFF2-40B4-BE49-F238E27FC236}">
                <a16:creationId xmlns:a16="http://schemas.microsoft.com/office/drawing/2014/main" id="{AD7EABBD-6FAF-427F-BE13-D7BC04EC03BA}"/>
              </a:ext>
            </a:extLst>
          </p:cNvPr>
          <p:cNvSpPr>
            <a:spLocks noGrp="1"/>
          </p:cNvSpPr>
          <p:nvPr>
            <p:ph type="body" sz="quarter" idx="18"/>
          </p:nvPr>
        </p:nvSpPr>
        <p:spPr>
          <a:xfrm>
            <a:off x="975360" y="4626456"/>
            <a:ext cx="1828800" cy="731520"/>
          </a:xfrm>
        </p:spPr>
        <p:txBody>
          <a:bodyPr/>
          <a:lstStyle/>
          <a:p>
            <a:pPr lvl="0"/>
            <a:endParaRPr lang="en-US"/>
          </a:p>
        </p:txBody>
      </p:sp>
      <p:sp>
        <p:nvSpPr>
          <p:cNvPr id="20" name="Text Placeholder 19">
            <a:extLst>
              <a:ext uri="{FF2B5EF4-FFF2-40B4-BE49-F238E27FC236}">
                <a16:creationId xmlns:a16="http://schemas.microsoft.com/office/drawing/2014/main" id="{4559BB4A-3FD9-4BC9-B09F-C64121653977}"/>
              </a:ext>
            </a:extLst>
          </p:cNvPr>
          <p:cNvSpPr>
            <a:spLocks noGrp="1"/>
          </p:cNvSpPr>
          <p:nvPr>
            <p:ph type="body" sz="quarter" idx="19"/>
          </p:nvPr>
        </p:nvSpPr>
        <p:spPr>
          <a:xfrm>
            <a:off x="3779520" y="4626456"/>
            <a:ext cx="1828800" cy="731520"/>
          </a:xfrm>
        </p:spPr>
        <p:txBody>
          <a:bodyPr/>
          <a:lstStyle/>
          <a:p>
            <a:pPr lvl="0"/>
            <a:endParaRPr lang="en-US"/>
          </a:p>
        </p:txBody>
      </p:sp>
      <p:sp>
        <p:nvSpPr>
          <p:cNvPr id="22" name="Text Placeholder 21">
            <a:extLst>
              <a:ext uri="{FF2B5EF4-FFF2-40B4-BE49-F238E27FC236}">
                <a16:creationId xmlns:a16="http://schemas.microsoft.com/office/drawing/2014/main" id="{B1D46D6E-4AEE-49BD-B0B3-0DD6DBBD862C}"/>
              </a:ext>
            </a:extLst>
          </p:cNvPr>
          <p:cNvSpPr>
            <a:spLocks noGrp="1"/>
          </p:cNvSpPr>
          <p:nvPr>
            <p:ph type="body" sz="quarter" idx="20"/>
          </p:nvPr>
        </p:nvSpPr>
        <p:spPr>
          <a:xfrm>
            <a:off x="6583680" y="4626456"/>
            <a:ext cx="1828800" cy="731520"/>
          </a:xfrm>
        </p:spPr>
        <p:txBody>
          <a:bodyPr/>
          <a:lstStyle/>
          <a:p>
            <a:pPr lvl="0"/>
            <a:endParaRPr lang="en-US"/>
          </a:p>
        </p:txBody>
      </p:sp>
      <p:sp>
        <p:nvSpPr>
          <p:cNvPr id="24" name="Text Placeholder 23">
            <a:extLst>
              <a:ext uri="{FF2B5EF4-FFF2-40B4-BE49-F238E27FC236}">
                <a16:creationId xmlns:a16="http://schemas.microsoft.com/office/drawing/2014/main" id="{35C5712A-8400-4211-B432-D3B2158967E8}"/>
              </a:ext>
            </a:extLst>
          </p:cNvPr>
          <p:cNvSpPr>
            <a:spLocks noGrp="1"/>
          </p:cNvSpPr>
          <p:nvPr>
            <p:ph type="body" sz="quarter" idx="21"/>
          </p:nvPr>
        </p:nvSpPr>
        <p:spPr>
          <a:xfrm>
            <a:off x="9387840" y="4626456"/>
            <a:ext cx="1828800" cy="731520"/>
          </a:xfrm>
        </p:spPr>
        <p:txBody>
          <a:bodyPr/>
          <a:lstStyle/>
          <a:p>
            <a:pPr lvl="0"/>
            <a:endParaRPr lang="en-US"/>
          </a:p>
        </p:txBody>
      </p:sp>
      <p:grpSp>
        <p:nvGrpSpPr>
          <p:cNvPr id="6" name="Group 5">
            <a:extLst>
              <a:ext uri="{FF2B5EF4-FFF2-40B4-BE49-F238E27FC236}">
                <a16:creationId xmlns:a16="http://schemas.microsoft.com/office/drawing/2014/main" id="{49D7D7BD-0BBC-4008-B38C-E03C0B419597}"/>
              </a:ext>
              <a:ext uri="{C183D7F6-B498-43B3-948B-1728B52AA6E4}">
                <adec:decorative xmlns:adec="http://schemas.microsoft.com/office/drawing/2017/decorative" val="1"/>
              </a:ext>
            </a:extLst>
          </p:cNvPr>
          <p:cNvGrpSpPr/>
          <p:nvPr userDrawn="1"/>
        </p:nvGrpSpPr>
        <p:grpSpPr>
          <a:xfrm>
            <a:off x="6389688" y="1438876"/>
            <a:ext cx="5219700" cy="4826384"/>
            <a:chOff x="6389688" y="1438876"/>
            <a:chExt cx="5219700" cy="4826384"/>
          </a:xfrm>
        </p:grpSpPr>
        <p:sp>
          <p:nvSpPr>
            <p:cNvPr id="15" name="Rectangle: Rounded Corners 14">
              <a:extLst>
                <a:ext uri="{FF2B5EF4-FFF2-40B4-BE49-F238E27FC236}">
                  <a16:creationId xmlns:a16="http://schemas.microsoft.com/office/drawing/2014/main" id="{CAA1D844-D210-4AAC-9A09-6383D795D7DD}"/>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7A973EFD-E40C-44CA-8558-6C6D89D2024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04A9DE00-0B0B-43C2-A785-C5858965D0CE}"/>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958666DC-C971-4712-A05F-B6E87F3E3716}"/>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A7243818-49CB-485B-995F-A2427392CC72}"/>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947103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6CDD364-CF07-4FC5-9517-0392B5477421}"/>
              </a:ext>
            </a:extLst>
          </p:cNvPr>
          <p:cNvSpPr>
            <a:spLocks noGrp="1"/>
          </p:cNvSpPr>
          <p:nvPr>
            <p:ph sz="quarter" idx="10"/>
          </p:nvPr>
        </p:nvSpPr>
        <p:spPr>
          <a:xfrm>
            <a:off x="808038" y="1447800"/>
            <a:ext cx="126460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4276175E-6795-4049-AC09-36928F4F6449}"/>
              </a:ext>
            </a:extLst>
          </p:cNvPr>
          <p:cNvSpPr>
            <a:spLocks noGrp="1"/>
          </p:cNvSpPr>
          <p:nvPr>
            <p:ph sz="quarter" idx="11"/>
          </p:nvPr>
        </p:nvSpPr>
        <p:spPr>
          <a:xfrm>
            <a:off x="2255838" y="1429509"/>
            <a:ext cx="126460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4779EC56-A6EF-4094-9E12-A7CB4DBBDA27}"/>
              </a:ext>
            </a:extLst>
          </p:cNvPr>
          <p:cNvSpPr>
            <a:spLocks noGrp="1"/>
          </p:cNvSpPr>
          <p:nvPr>
            <p:ph sz="quarter" idx="12"/>
          </p:nvPr>
        </p:nvSpPr>
        <p:spPr>
          <a:xfrm>
            <a:off x="808038" y="2053567"/>
            <a:ext cx="126460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AB6A444D-20FC-44CF-8BA8-03A8F45239DB}"/>
              </a:ext>
            </a:extLst>
          </p:cNvPr>
          <p:cNvSpPr>
            <a:spLocks noGrp="1"/>
          </p:cNvSpPr>
          <p:nvPr>
            <p:ph sz="quarter" idx="13"/>
          </p:nvPr>
        </p:nvSpPr>
        <p:spPr>
          <a:xfrm>
            <a:off x="2255838" y="2035276"/>
            <a:ext cx="126460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9DB64A1-2DC7-4F73-8783-7D99978ED06D}"/>
              </a:ext>
            </a:extLst>
          </p:cNvPr>
          <p:cNvSpPr>
            <a:spLocks noGrp="1"/>
          </p:cNvSpPr>
          <p:nvPr>
            <p:ph sz="quarter" idx="14"/>
          </p:nvPr>
        </p:nvSpPr>
        <p:spPr>
          <a:xfrm>
            <a:off x="853758" y="2659334"/>
            <a:ext cx="126460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608CF1C-58A4-4F8C-A5E8-EDDC6E1B0253}"/>
              </a:ext>
            </a:extLst>
          </p:cNvPr>
          <p:cNvSpPr>
            <a:spLocks noGrp="1"/>
          </p:cNvSpPr>
          <p:nvPr>
            <p:ph sz="quarter" idx="15"/>
          </p:nvPr>
        </p:nvSpPr>
        <p:spPr>
          <a:xfrm>
            <a:off x="2301558" y="2641043"/>
            <a:ext cx="126460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3A93E986-A894-4452-8990-8ABBC5AD9161}"/>
              </a:ext>
            </a:extLst>
          </p:cNvPr>
          <p:cNvSpPr>
            <a:spLocks noGrp="1"/>
          </p:cNvSpPr>
          <p:nvPr>
            <p:ph sz="quarter" idx="16"/>
          </p:nvPr>
        </p:nvSpPr>
        <p:spPr>
          <a:xfrm>
            <a:off x="808038" y="3228519"/>
            <a:ext cx="126460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9922863-6148-4DA8-96DC-F4822CED0BEE}"/>
              </a:ext>
            </a:extLst>
          </p:cNvPr>
          <p:cNvSpPr>
            <a:spLocks noGrp="1"/>
          </p:cNvSpPr>
          <p:nvPr>
            <p:ph sz="quarter" idx="17"/>
          </p:nvPr>
        </p:nvSpPr>
        <p:spPr>
          <a:xfrm>
            <a:off x="2255838" y="3210228"/>
            <a:ext cx="126460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796883D2-96B3-4C54-9801-DE8FE6C34F68}"/>
              </a:ext>
            </a:extLst>
          </p:cNvPr>
          <p:cNvSpPr>
            <a:spLocks noGrp="1"/>
          </p:cNvSpPr>
          <p:nvPr>
            <p:ph sz="quarter" idx="18"/>
          </p:nvPr>
        </p:nvSpPr>
        <p:spPr>
          <a:xfrm>
            <a:off x="853758" y="3792345"/>
            <a:ext cx="126460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A06F47A0-9348-4871-9EFD-7D7CDA33DEC5}"/>
              </a:ext>
            </a:extLst>
          </p:cNvPr>
          <p:cNvSpPr>
            <a:spLocks noGrp="1"/>
          </p:cNvSpPr>
          <p:nvPr>
            <p:ph sz="quarter" idx="19"/>
          </p:nvPr>
        </p:nvSpPr>
        <p:spPr>
          <a:xfrm>
            <a:off x="2301558" y="3774054"/>
            <a:ext cx="1264602" cy="301749"/>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CD40BCB3-D887-4642-9DA2-CC5A4916FE09}"/>
              </a:ext>
            </a:extLst>
          </p:cNvPr>
          <p:cNvSpPr>
            <a:spLocks noGrp="1"/>
          </p:cNvSpPr>
          <p:nvPr>
            <p:ph sz="quarter" idx="20"/>
          </p:nvPr>
        </p:nvSpPr>
        <p:spPr>
          <a:xfrm>
            <a:off x="853758" y="4403471"/>
            <a:ext cx="1264602" cy="301749"/>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7B9C369B-BDEF-424C-83FC-30EAA75D24DE}"/>
              </a:ext>
            </a:extLst>
          </p:cNvPr>
          <p:cNvSpPr>
            <a:spLocks noGrp="1"/>
          </p:cNvSpPr>
          <p:nvPr>
            <p:ph sz="quarter" idx="21"/>
          </p:nvPr>
        </p:nvSpPr>
        <p:spPr>
          <a:xfrm>
            <a:off x="2301558" y="4385180"/>
            <a:ext cx="126460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47803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32802977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11564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648626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spTree>
    <p:extLst>
      <p:ext uri="{BB962C8B-B14F-4D97-AF65-F5344CB8AC3E}">
        <p14:creationId xmlns:p14="http://schemas.microsoft.com/office/powerpoint/2010/main" val="282547763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20111556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98006131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42439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5323856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548634223"/>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12536905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11528434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72788806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20169110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273247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323118400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204340079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405504548"/>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692120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32637431"/>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3657377"/>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753056362"/>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34477248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81390361"/>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41951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99323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224102"/>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406243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560028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13700095"/>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07176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19784859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440931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245172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7805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95930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3831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0198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748833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1595197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947676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0473447"/>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06090038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1601841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87653155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241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194830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9150502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10/4/20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theme" Target="../theme/theme10.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image" Target="../media/image92.emf"/><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image" Target="../media/image1.emf"/><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1.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8"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theme" Target="../theme/theme12.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40" Type="http://schemas.openxmlformats.org/officeDocument/2006/relationships/image" Target="../media/image92.emf"/><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8" Type="http://schemas.openxmlformats.org/officeDocument/2006/relationships/slideLayout" Target="../slideLayouts/slideLayout366.xml"/><Relationship Id="rId3" Type="http://schemas.openxmlformats.org/officeDocument/2006/relationships/slideLayout" Target="../slideLayouts/slideLayout36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image" Target="../media/image67.png"/><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theme" Target="../theme/theme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8" Type="http://schemas.openxmlformats.org/officeDocument/2006/relationships/slideLayout" Target="../slideLayouts/slideLayout404.xml"/><Relationship Id="rId3" Type="http://schemas.openxmlformats.org/officeDocument/2006/relationships/slideLayout" Target="../slideLayouts/slideLayout39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9" Type="http://schemas.openxmlformats.org/officeDocument/2006/relationships/slideLayout" Target="../slideLayouts/slideLayout472.xml"/><Relationship Id="rId21" Type="http://schemas.openxmlformats.org/officeDocument/2006/relationships/slideLayout" Target="../slideLayouts/slideLayout454.xml"/><Relationship Id="rId34" Type="http://schemas.openxmlformats.org/officeDocument/2006/relationships/slideLayout" Target="../slideLayouts/slideLayout467.xml"/><Relationship Id="rId42" Type="http://schemas.openxmlformats.org/officeDocument/2006/relationships/slideLayout" Target="../slideLayouts/slideLayout475.xml"/><Relationship Id="rId47" Type="http://schemas.openxmlformats.org/officeDocument/2006/relationships/slideLayout" Target="../slideLayouts/slideLayout480.xml"/><Relationship Id="rId50" Type="http://schemas.openxmlformats.org/officeDocument/2006/relationships/slideLayout" Target="../slideLayouts/slideLayout483.xml"/><Relationship Id="rId55" Type="http://schemas.openxmlformats.org/officeDocument/2006/relationships/slideLayout" Target="../slideLayouts/slideLayout488.xml"/><Relationship Id="rId7" Type="http://schemas.openxmlformats.org/officeDocument/2006/relationships/slideLayout" Target="../slideLayouts/slideLayout440.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9" Type="http://schemas.openxmlformats.org/officeDocument/2006/relationships/slideLayout" Target="../slideLayouts/slideLayout462.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slideLayout" Target="../slideLayouts/slideLayout465.xml"/><Relationship Id="rId37" Type="http://schemas.openxmlformats.org/officeDocument/2006/relationships/slideLayout" Target="../slideLayouts/slideLayout470.xml"/><Relationship Id="rId40" Type="http://schemas.openxmlformats.org/officeDocument/2006/relationships/slideLayout" Target="../slideLayouts/slideLayout473.xml"/><Relationship Id="rId45" Type="http://schemas.openxmlformats.org/officeDocument/2006/relationships/slideLayout" Target="../slideLayouts/slideLayout478.xml"/><Relationship Id="rId53" Type="http://schemas.openxmlformats.org/officeDocument/2006/relationships/slideLayout" Target="../slideLayouts/slideLayout486.xml"/><Relationship Id="rId58" Type="http://schemas.openxmlformats.org/officeDocument/2006/relationships/slideLayout" Target="../slideLayouts/slideLayout491.xml"/><Relationship Id="rId5" Type="http://schemas.openxmlformats.org/officeDocument/2006/relationships/slideLayout" Target="../slideLayouts/slideLayout438.xml"/><Relationship Id="rId61" Type="http://schemas.openxmlformats.org/officeDocument/2006/relationships/image" Target="../media/image1.emf"/><Relationship Id="rId19" Type="http://schemas.openxmlformats.org/officeDocument/2006/relationships/slideLayout" Target="../slideLayouts/slideLayout45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slideLayout" Target="../slideLayouts/slideLayout463.xml"/><Relationship Id="rId35" Type="http://schemas.openxmlformats.org/officeDocument/2006/relationships/slideLayout" Target="../slideLayouts/slideLayout468.xml"/><Relationship Id="rId43" Type="http://schemas.openxmlformats.org/officeDocument/2006/relationships/slideLayout" Target="../slideLayouts/slideLayout476.xml"/><Relationship Id="rId48" Type="http://schemas.openxmlformats.org/officeDocument/2006/relationships/slideLayout" Target="../slideLayouts/slideLayout481.xml"/><Relationship Id="rId56" Type="http://schemas.openxmlformats.org/officeDocument/2006/relationships/slideLayout" Target="../slideLayouts/slideLayout489.xml"/><Relationship Id="rId8" Type="http://schemas.openxmlformats.org/officeDocument/2006/relationships/slideLayout" Target="../slideLayouts/slideLayout441.xml"/><Relationship Id="rId51" Type="http://schemas.openxmlformats.org/officeDocument/2006/relationships/slideLayout" Target="../slideLayouts/slideLayout484.xml"/><Relationship Id="rId3" Type="http://schemas.openxmlformats.org/officeDocument/2006/relationships/slideLayout" Target="../slideLayouts/slideLayout436.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33" Type="http://schemas.openxmlformats.org/officeDocument/2006/relationships/slideLayout" Target="../slideLayouts/slideLayout466.xml"/><Relationship Id="rId38" Type="http://schemas.openxmlformats.org/officeDocument/2006/relationships/slideLayout" Target="../slideLayouts/slideLayout471.xml"/><Relationship Id="rId46" Type="http://schemas.openxmlformats.org/officeDocument/2006/relationships/slideLayout" Target="../slideLayouts/slideLayout479.xml"/><Relationship Id="rId59" Type="http://schemas.openxmlformats.org/officeDocument/2006/relationships/slideLayout" Target="../slideLayouts/slideLayout492.xml"/><Relationship Id="rId20" Type="http://schemas.openxmlformats.org/officeDocument/2006/relationships/slideLayout" Target="../slideLayouts/slideLayout453.xml"/><Relationship Id="rId41" Type="http://schemas.openxmlformats.org/officeDocument/2006/relationships/slideLayout" Target="../slideLayouts/slideLayout474.xml"/><Relationship Id="rId54" Type="http://schemas.openxmlformats.org/officeDocument/2006/relationships/slideLayout" Target="../slideLayouts/slideLayout487.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36" Type="http://schemas.openxmlformats.org/officeDocument/2006/relationships/slideLayout" Target="../slideLayouts/slideLayout469.xml"/><Relationship Id="rId49" Type="http://schemas.openxmlformats.org/officeDocument/2006/relationships/slideLayout" Target="../slideLayouts/slideLayout482.xml"/><Relationship Id="rId57" Type="http://schemas.openxmlformats.org/officeDocument/2006/relationships/slideLayout" Target="../slideLayouts/slideLayout490.xml"/><Relationship Id="rId10" Type="http://schemas.openxmlformats.org/officeDocument/2006/relationships/slideLayout" Target="../slideLayouts/slideLayout443.xml"/><Relationship Id="rId31" Type="http://schemas.openxmlformats.org/officeDocument/2006/relationships/slideLayout" Target="../slideLayouts/slideLayout464.xml"/><Relationship Id="rId44" Type="http://schemas.openxmlformats.org/officeDocument/2006/relationships/slideLayout" Target="../slideLayouts/slideLayout477.xml"/><Relationship Id="rId52" Type="http://schemas.openxmlformats.org/officeDocument/2006/relationships/slideLayout" Target="../slideLayouts/slideLayout485.xml"/><Relationship Id="rId60" Type="http://schemas.openxmlformats.org/officeDocument/2006/relationships/theme" Target="../theme/theme14.xml"/><Relationship Id="rId4" Type="http://schemas.openxmlformats.org/officeDocument/2006/relationships/slideLayout" Target="../slideLayouts/slideLayout437.xml"/><Relationship Id="rId9" Type="http://schemas.openxmlformats.org/officeDocument/2006/relationships/slideLayout" Target="../slideLayouts/slideLayout44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9" Type="http://schemas.openxmlformats.org/officeDocument/2006/relationships/slideLayout" Target="../slideLayouts/slideLayout531.xml"/><Relationship Id="rId21" Type="http://schemas.openxmlformats.org/officeDocument/2006/relationships/slideLayout" Target="../slideLayouts/slideLayout513.xml"/><Relationship Id="rId34" Type="http://schemas.openxmlformats.org/officeDocument/2006/relationships/slideLayout" Target="../slideLayouts/slideLayout526.xml"/><Relationship Id="rId42" Type="http://schemas.openxmlformats.org/officeDocument/2006/relationships/slideLayout" Target="../slideLayouts/slideLayout534.xml"/><Relationship Id="rId47" Type="http://schemas.openxmlformats.org/officeDocument/2006/relationships/theme" Target="../theme/theme15.xml"/><Relationship Id="rId7" Type="http://schemas.openxmlformats.org/officeDocument/2006/relationships/slideLayout" Target="../slideLayouts/slideLayout499.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slideLayout" Target="../slideLayouts/slideLayout524.xml"/><Relationship Id="rId37" Type="http://schemas.openxmlformats.org/officeDocument/2006/relationships/slideLayout" Target="../slideLayouts/slideLayout529.xml"/><Relationship Id="rId40" Type="http://schemas.openxmlformats.org/officeDocument/2006/relationships/slideLayout" Target="../slideLayouts/slideLayout532.xml"/><Relationship Id="rId45" Type="http://schemas.openxmlformats.org/officeDocument/2006/relationships/slideLayout" Target="../slideLayouts/slideLayout537.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36" Type="http://schemas.openxmlformats.org/officeDocument/2006/relationships/slideLayout" Target="../slideLayouts/slideLayout528.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4" Type="http://schemas.openxmlformats.org/officeDocument/2006/relationships/slideLayout" Target="../slideLayouts/slideLayout536.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35" Type="http://schemas.openxmlformats.org/officeDocument/2006/relationships/slideLayout" Target="../slideLayouts/slideLayout527.xml"/><Relationship Id="rId43" Type="http://schemas.openxmlformats.org/officeDocument/2006/relationships/slideLayout" Target="../slideLayouts/slideLayout535.xml"/><Relationship Id="rId48" Type="http://schemas.openxmlformats.org/officeDocument/2006/relationships/image" Target="../media/image67.png"/><Relationship Id="rId8" Type="http://schemas.openxmlformats.org/officeDocument/2006/relationships/slideLayout" Target="../slideLayouts/slideLayout500.xml"/><Relationship Id="rId3" Type="http://schemas.openxmlformats.org/officeDocument/2006/relationships/slideLayout" Target="../slideLayouts/slideLayout495.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slideLayout" Target="../slideLayouts/slideLayout525.xml"/><Relationship Id="rId38" Type="http://schemas.openxmlformats.org/officeDocument/2006/relationships/slideLayout" Target="../slideLayouts/slideLayout530.xml"/><Relationship Id="rId46" Type="http://schemas.openxmlformats.org/officeDocument/2006/relationships/slideLayout" Target="../slideLayouts/slideLayout538.xml"/><Relationship Id="rId20" Type="http://schemas.openxmlformats.org/officeDocument/2006/relationships/slideLayout" Target="../slideLayouts/slideLayout512.xml"/><Relationship Id="rId41" Type="http://schemas.openxmlformats.org/officeDocument/2006/relationships/slideLayout" Target="../slideLayouts/slideLayout5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3.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22.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3.xml"/><Relationship Id="rId18" Type="http://schemas.openxmlformats.org/officeDocument/2006/relationships/image" Target="../media/image3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29.svg"/><Relationship Id="rId2" Type="http://schemas.openxmlformats.org/officeDocument/2006/relationships/slideLayout" Target="../slideLayouts/slideLayout61.xml"/><Relationship Id="rId16" Type="http://schemas.openxmlformats.org/officeDocument/2006/relationships/image" Target="../media/image28.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27.svg"/><Relationship Id="rId10" Type="http://schemas.openxmlformats.org/officeDocument/2006/relationships/slideLayout" Target="../slideLayouts/slideLayout69.xml"/><Relationship Id="rId19" Type="http://schemas.openxmlformats.org/officeDocument/2006/relationships/image" Target="../media/image31.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image" Target="../media/image45.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heme" Target="../theme/theme5.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theme" Target="../theme/theme6.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image" Target="../media/image67.png"/><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theme" Target="../theme/theme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8" Type="http://schemas.openxmlformats.org/officeDocument/2006/relationships/slideLayout" Target="../slideLayouts/slideLayout182.xml"/><Relationship Id="rId3" Type="http://schemas.openxmlformats.org/officeDocument/2006/relationships/slideLayout" Target="../slideLayouts/slideLayout17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image" Target="../media/image92.emf"/><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theme" Target="../theme/theme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8"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slideLayout" Target="../slideLayouts/slideLayout285.xml"/><Relationship Id="rId47" Type="http://schemas.openxmlformats.org/officeDocument/2006/relationships/theme" Target="../theme/theme9.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image" Target="../media/image67.png"/><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20" Type="http://schemas.openxmlformats.org/officeDocument/2006/relationships/slideLayout" Target="../slideLayouts/slideLayout263.xml"/><Relationship Id="rId41"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9" y="2842061"/>
            <a:ext cx="6843271" cy="1164777"/>
          </a:xfrm>
          <a:prstGeom prst="rect">
            <a:avLst/>
          </a:prstGeom>
        </p:spPr>
      </p:pic>
    </p:spTree>
    <p:extLst>
      <p:ext uri="{BB962C8B-B14F-4D97-AF65-F5344CB8AC3E}">
        <p14:creationId xmlns:p14="http://schemas.microsoft.com/office/powerpoint/2010/main" val="30618841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 id="2147484220" r:id="rId32"/>
    <p:sldLayoutId id="2147484221" r:id="rId33"/>
    <p:sldLayoutId id="2147484222" r:id="rId34"/>
    <p:sldLayoutId id="2147484223" r:id="rId35"/>
    <p:sldLayoutId id="2147484224" r:id="rId36"/>
    <p:sldLayoutId id="2147484225" r:id="rId37"/>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tx2"/>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532073"/>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 id="2147484250" r:id="rId24"/>
    <p:sldLayoutId id="2147484251" r:id="rId25"/>
    <p:sldLayoutId id="2147484252" r:id="rId26"/>
    <p:sldLayoutId id="2147484253" r:id="rId27"/>
    <p:sldLayoutId id="2147484254" r:id="rId28"/>
    <p:sldLayoutId id="2147484255" r:id="rId29"/>
    <p:sldLayoutId id="2147484256" r:id="rId30"/>
    <p:sldLayoutId id="2147484257" r:id="rId31"/>
    <p:sldLayoutId id="2147484258" r:id="rId32"/>
    <p:sldLayoutId id="2147484259" r:id="rId33"/>
    <p:sldLayoutId id="2147484260" r:id="rId34"/>
    <p:sldLayoutId id="2147484261" r:id="rId35"/>
    <p:sldLayoutId id="2147484262" r:id="rId36"/>
    <p:sldLayoutId id="2147484263" r:id="rId37"/>
    <p:sldLayoutId id="2147484264" r:id="rId38"/>
    <p:sldLayoutId id="2147484265" r:id="rId39"/>
    <p:sldLayoutId id="2147484266" r:id="rId40"/>
    <p:sldLayoutId id="2147484267" r:id="rId41"/>
    <p:sldLayoutId id="2147484268" r:id="rId42"/>
    <p:sldLayoutId id="2147484269" r:id="rId43"/>
    <p:sldLayoutId id="2147484270" r:id="rId44"/>
    <p:sldLayoutId id="2147484271" r:id="rId45"/>
    <p:sldLayoutId id="2147484272" r:id="rId46"/>
    <p:sldLayoutId id="2147484273" r:id="rId47"/>
    <p:sldLayoutId id="2147484274" r:id="rId48"/>
    <p:sldLayoutId id="2147484275" r:id="rId49"/>
    <p:sldLayoutId id="2147484276" r:id="rId50"/>
    <p:sldLayoutId id="2147484277" r:id="rId51"/>
    <p:sldLayoutId id="2147484278" r:id="rId52"/>
    <p:sldLayoutId id="2147484279" r:id="rId53"/>
    <p:sldLayoutId id="2147484280" r:id="rId54"/>
    <p:sldLayoutId id="2147484281" r:id="rId55"/>
    <p:sldLayoutId id="2147484282" r:id="rId56"/>
    <p:sldLayoutId id="2147484283" r:id="rId57"/>
    <p:sldLayoutId id="2147484284" r:id="rId58"/>
    <p:sldLayoutId id="2147484285" r:id="rId59"/>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168525520"/>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3" r:id="rId32"/>
    <p:sldLayoutId id="2147483734" r:id="rId33"/>
    <p:sldLayoutId id="2147483735" r:id="rId34"/>
    <p:sldLayoutId id="2147483736" r:id="rId35"/>
    <p:sldLayoutId id="2147483737" r:id="rId36"/>
    <p:sldLayoutId id="2147483738" r:id="rId37"/>
    <p:sldLayoutId id="2147483740" r:id="rId38"/>
    <p:sldLayoutId id="2147483864" r:id="rId39"/>
    <p:sldLayoutId id="2147483865" r:id="rId40"/>
    <p:sldLayoutId id="2147483866" r:id="rId41"/>
    <p:sldLayoutId id="2147483868"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73.xml"/><Relationship Id="rId5" Type="http://schemas.openxmlformats.org/officeDocument/2006/relationships/image" Target="../media/image101.emf"/><Relationship Id="rId4" Type="http://schemas.openxmlformats.org/officeDocument/2006/relationships/image" Target="../media/image116.svg"/></Relationships>
</file>

<file path=ppt/slides/_rels/slide1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0.xml"/><Relationship Id="rId1" Type="http://schemas.openxmlformats.org/officeDocument/2006/relationships/slideLayout" Target="../slideLayouts/slideLayout416.xml"/><Relationship Id="rId4" Type="http://schemas.openxmlformats.org/officeDocument/2006/relationships/image" Target="../media/image123.png"/></Relationships>
</file>

<file path=ppt/slides/_rels/slide11.xml.rels><?xml version="1.0" encoding="UTF-8" standalone="yes"?>
<Relationships xmlns="http://schemas.openxmlformats.org/package/2006/relationships"><Relationship Id="rId3" Type="http://schemas.openxmlformats.org/officeDocument/2006/relationships/hyperlink" Target="https://aka.ms/alz/isv" TargetMode="External"/><Relationship Id="rId7" Type="http://schemas.openxmlformats.org/officeDocument/2006/relationships/image" Target="../media/image141.png"/><Relationship Id="rId2" Type="http://schemas.openxmlformats.org/officeDocument/2006/relationships/notesSlide" Target="../notesSlides/notesSlide11.xml"/><Relationship Id="rId1" Type="http://schemas.openxmlformats.org/officeDocument/2006/relationships/slideLayout" Target="../slideLayouts/slideLayout416.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1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2.xml"/><Relationship Id="rId1" Type="http://schemas.openxmlformats.org/officeDocument/2006/relationships/slideLayout" Target="../slideLayouts/slideLayout416.xml"/></Relationships>
</file>

<file path=ppt/slides/_rels/slide1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3.xml"/><Relationship Id="rId1" Type="http://schemas.openxmlformats.org/officeDocument/2006/relationships/slideLayout" Target="../slideLayouts/slideLayout416.xml"/><Relationship Id="rId4" Type="http://schemas.openxmlformats.org/officeDocument/2006/relationships/hyperlink" Target="https://aka.ms/alz/bicep"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3.xml"/><Relationship Id="rId1" Type="http://schemas.openxmlformats.org/officeDocument/2006/relationships/tags" Target="../tags/tag17.xml"/><Relationship Id="rId5" Type="http://schemas.openxmlformats.org/officeDocument/2006/relationships/image" Target="../media/image135.svg"/><Relationship Id="rId4" Type="http://schemas.openxmlformats.org/officeDocument/2006/relationships/image" Target="../media/image134.png"/></Relationships>
</file>

<file path=ppt/slides/_rels/slide1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6.xml"/><Relationship Id="rId1" Type="http://schemas.openxmlformats.org/officeDocument/2006/relationships/slideLayout" Target="../slideLayouts/slideLayout41.xml"/><Relationship Id="rId5" Type="http://schemas.openxmlformats.org/officeDocument/2006/relationships/image" Target="../media/image146.png"/><Relationship Id="rId4" Type="http://schemas.openxmlformats.org/officeDocument/2006/relationships/image" Target="../media/image145.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1.xml"/></Relationships>
</file>

<file path=ppt/slides/_rels/slide1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48.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19.xml"/><Relationship Id="rId1" Type="http://schemas.openxmlformats.org/officeDocument/2006/relationships/tags" Target="../tags/tag18.xml"/><Relationship Id="rId5" Type="http://schemas.openxmlformats.org/officeDocument/2006/relationships/image" Target="../media/image151.svg"/><Relationship Id="rId4" Type="http://schemas.openxmlformats.org/officeDocument/2006/relationships/image" Target="../media/image150.png"/></Relationships>
</file>

<file path=ppt/slides/_rels/slide2.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2.xml"/><Relationship Id="rId1" Type="http://schemas.openxmlformats.org/officeDocument/2006/relationships/slideLayout" Target="../slideLayouts/slideLayout41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19.xml"/><Relationship Id="rId1" Type="http://schemas.openxmlformats.org/officeDocument/2006/relationships/tags" Target="../tags/tag19.xml"/></Relationships>
</file>

<file path=ppt/slides/_rels/slide2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1.xml"/><Relationship Id="rId1" Type="http://schemas.openxmlformats.org/officeDocument/2006/relationships/slideLayout" Target="../slideLayouts/slideLayout41.xml"/><Relationship Id="rId5" Type="http://schemas.openxmlformats.org/officeDocument/2006/relationships/image" Target="../media/image154.png"/><Relationship Id="rId4" Type="http://schemas.openxmlformats.org/officeDocument/2006/relationships/image" Target="../media/image153.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9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91.xml"/></Relationships>
</file>

<file path=ppt/slides/_rels/slide2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4.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55.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1.xml"/></Relationships>
</file>

<file path=ppt/slides/_rels/slide2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6.xml"/><Relationship Id="rId1" Type="http://schemas.openxmlformats.org/officeDocument/2006/relationships/slideLayout" Target="../slideLayouts/slideLayout291.xml"/></Relationships>
</file>

<file path=ppt/slides/_rels/slide2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7.xml"/><Relationship Id="rId1" Type="http://schemas.openxmlformats.org/officeDocument/2006/relationships/slideLayout" Target="../slideLayouts/slideLayout291.xml"/><Relationship Id="rId4" Type="http://schemas.openxmlformats.org/officeDocument/2006/relationships/hyperlink" Target="https://youtu.be/Zx_gHevekm0?t=1954"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notesSlide" Target="../notesSlides/notesSlide28.xml"/><Relationship Id="rId1" Type="http://schemas.openxmlformats.org/officeDocument/2006/relationships/slideLayout" Target="../slideLayouts/slideLayout41.xml"/><Relationship Id="rId6" Type="http://schemas.openxmlformats.org/officeDocument/2006/relationships/image" Target="../media/image149.png"/><Relationship Id="rId5" Type="http://schemas.openxmlformats.org/officeDocument/2006/relationships/image" Target="../media/image159.svg"/><Relationship Id="rId4" Type="http://schemas.openxmlformats.org/officeDocument/2006/relationships/image" Target="../media/image158.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19.xml"/><Relationship Id="rId1" Type="http://schemas.openxmlformats.org/officeDocument/2006/relationships/tags" Target="../tags/tag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7.xml"/></Relationships>
</file>

<file path=ppt/slides/_rels/slide3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0.xml"/><Relationship Id="rId1" Type="http://schemas.openxmlformats.org/officeDocument/2006/relationships/slideLayout" Target="../slideLayouts/slideLayout41.xml"/><Relationship Id="rId5" Type="http://schemas.openxmlformats.org/officeDocument/2006/relationships/image" Target="../media/image162.png"/><Relationship Id="rId4" Type="http://schemas.openxmlformats.org/officeDocument/2006/relationships/image" Target="../media/image161.sv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1.xml"/><Relationship Id="rId1" Type="http://schemas.openxmlformats.org/officeDocument/2006/relationships/themeOverride" Target="../theme/themeOverride1.xml"/><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2.xml"/><Relationship Id="rId1" Type="http://schemas.openxmlformats.org/officeDocument/2006/relationships/themeOverride" Target="../theme/themeOverride2.xml"/><Relationship Id="rId5" Type="http://schemas.openxmlformats.org/officeDocument/2006/relationships/image" Target="../media/image163.pn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3.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5.sv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67.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81.xml"/><Relationship Id="rId1" Type="http://schemas.openxmlformats.org/officeDocument/2006/relationships/tags" Target="../tags/tag2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6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64.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4.xml"/><Relationship Id="rId1" Type="http://schemas.openxmlformats.org/officeDocument/2006/relationships/themeOverride" Target="../theme/themeOverride3.xml"/><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39.xml"/><Relationship Id="rId1" Type="http://schemas.openxmlformats.org/officeDocument/2006/relationships/slideLayout" Target="../slideLayouts/slideLayout41.xml"/><Relationship Id="rId5" Type="http://schemas.openxmlformats.org/officeDocument/2006/relationships/image" Target="../media/image168.png"/><Relationship Id="rId4" Type="http://schemas.openxmlformats.org/officeDocument/2006/relationships/image" Target="../media/image167.svg"/></Relationships>
</file>

<file path=ppt/slides/_rels/slide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xml"/><Relationship Id="rId1" Type="http://schemas.openxmlformats.org/officeDocument/2006/relationships/slideLayout" Target="../slideLayouts/slideLayout264.xml"/><Relationship Id="rId5" Type="http://schemas.openxmlformats.org/officeDocument/2006/relationships/image" Target="../media/image119.png"/><Relationship Id="rId4" Type="http://schemas.openxmlformats.org/officeDocument/2006/relationships/image" Target="../media/image118.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5.xml"/><Relationship Id="rId1" Type="http://schemas.openxmlformats.org/officeDocument/2006/relationships/themeOverride" Target="../theme/themeOverride4.xml"/><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6.xml"/><Relationship Id="rId1" Type="http://schemas.openxmlformats.org/officeDocument/2006/relationships/themeOverride" Target="../theme/themeOverride5.xml"/><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7.xml"/><Relationship Id="rId1" Type="http://schemas.openxmlformats.org/officeDocument/2006/relationships/themeOverride" Target="../theme/themeOverride6.xml"/><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3.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7.sv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8.xml"/><Relationship Id="rId1" Type="http://schemas.openxmlformats.org/officeDocument/2006/relationships/themeOverride" Target="../theme/themeOverride7.xml"/><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4.xml"/></Relationships>
</file>

<file path=ppt/slides/_rels/slide46.xml.rels><?xml version="1.0" encoding="UTF-8" standalone="yes"?>
<Relationships xmlns="http://schemas.openxmlformats.org/package/2006/relationships"><Relationship Id="rId8" Type="http://schemas.openxmlformats.org/officeDocument/2006/relationships/hyperlink" Target="https://aka.ms/alz/tf" TargetMode="External"/><Relationship Id="rId3" Type="http://schemas.openxmlformats.org/officeDocument/2006/relationships/hyperlink" Target="https://aka.ms/ALZ" TargetMode="External"/><Relationship Id="rId7" Type="http://schemas.openxmlformats.org/officeDocument/2006/relationships/hyperlink" Target="https://aka.ms/alz/bicep" TargetMode="External"/><Relationship Id="rId2" Type="http://schemas.openxmlformats.org/officeDocument/2006/relationships/hyperlink" Target="https://docs.microsoft.com/en-us/learn/paths/enterprise-scale-architecture/" TargetMode="External"/><Relationship Id="rId1" Type="http://schemas.openxmlformats.org/officeDocument/2006/relationships/slideLayout" Target="../slideLayouts/slideLayout416.xml"/><Relationship Id="rId6" Type="http://schemas.openxmlformats.org/officeDocument/2006/relationships/hyperlink" Target="https://aka.ms/enterprisescale" TargetMode="External"/><Relationship Id="rId5" Type="http://schemas.openxmlformats.org/officeDocument/2006/relationships/hyperlink" Target="https://aka.ms/alz/survey" TargetMode="External"/><Relationship Id="rId4" Type="http://schemas.openxmlformats.org/officeDocument/2006/relationships/hyperlink" Target="https://learn.microsoft.com/en-us/azure/cloud-adoption-framework/ready/landing-zone/implementation-options" TargetMode="External"/><Relationship Id="rId9" Type="http://schemas.openxmlformats.org/officeDocument/2006/relationships/image" Target="../media/image123.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4.xml"/><Relationship Id="rId1" Type="http://schemas.openxmlformats.org/officeDocument/2006/relationships/tags" Target="../tags/tag15.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xml"/><Relationship Id="rId1" Type="http://schemas.openxmlformats.org/officeDocument/2006/relationships/slideLayout" Target="../slideLayouts/slideLayout411.xml"/></Relationships>
</file>

<file path=ppt/slides/_rels/slide7.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image" Target="../media/image124.png"/><Relationship Id="rId7" Type="http://schemas.openxmlformats.org/officeDocument/2006/relationships/image" Target="../media/image128.png"/><Relationship Id="rId12" Type="http://schemas.openxmlformats.org/officeDocument/2006/relationships/image" Target="../media/image133.svg"/><Relationship Id="rId2" Type="http://schemas.openxmlformats.org/officeDocument/2006/relationships/notesSlide" Target="../notesSlides/notesSlide7.xml"/><Relationship Id="rId1" Type="http://schemas.openxmlformats.org/officeDocument/2006/relationships/slideLayout" Target="../slideLayouts/slideLayout491.xml"/><Relationship Id="rId6" Type="http://schemas.openxmlformats.org/officeDocument/2006/relationships/image" Target="../media/image127.svg"/><Relationship Id="rId11" Type="http://schemas.openxmlformats.org/officeDocument/2006/relationships/image" Target="../media/image132.png"/><Relationship Id="rId5" Type="http://schemas.openxmlformats.org/officeDocument/2006/relationships/image" Target="../media/image126.png"/><Relationship Id="rId10" Type="http://schemas.openxmlformats.org/officeDocument/2006/relationships/image" Target="../media/image131.svg"/><Relationship Id="rId4" Type="http://schemas.openxmlformats.org/officeDocument/2006/relationships/image" Target="../media/image125.svg"/><Relationship Id="rId9" Type="http://schemas.openxmlformats.org/officeDocument/2006/relationships/image" Target="../media/image13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4.xml"/><Relationship Id="rId1" Type="http://schemas.openxmlformats.org/officeDocument/2006/relationships/tags" Target="../tags/tag16.xml"/><Relationship Id="rId5" Type="http://schemas.openxmlformats.org/officeDocument/2006/relationships/image" Target="../media/image135.svg"/><Relationship Id="rId4" Type="http://schemas.openxmlformats.org/officeDocument/2006/relationships/image" Target="../media/image134.png"/></Relationships>
</file>

<file path=ppt/slides/_rels/slide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xml"/><Relationship Id="rId1" Type="http://schemas.openxmlformats.org/officeDocument/2006/relationships/slideLayout" Target="../slideLayouts/slideLayout50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 Sep 2022</a:t>
            </a:r>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What The CAF</a:t>
            </a:r>
            <a:br>
              <a:rPr lang="en-US" altLang="ja-JP" sz="3600" b="1" dirty="0">
                <a:solidFill>
                  <a:srgbClr val="FFFFFF"/>
                </a:solidFill>
                <a:latin typeface="Segoe Semibold" panose="020B0502040504020203" pitchFamily="34" charset="0"/>
              </a:rPr>
            </a:br>
            <a:r>
              <a:rPr lang="en-US" altLang="ja-JP" sz="3600" b="1" dirty="0">
                <a:solidFill>
                  <a:srgbClr val="FFFFFF"/>
                </a:solidFill>
                <a:latin typeface="Segoe Semibold" panose="020B0502040504020203" pitchFamily="34" charset="0"/>
              </a:rPr>
              <a:t>Module 04: ALZ Accelerator</a:t>
            </a:r>
            <a:br>
              <a:rPr lang="en-US" sz="3200" dirty="0"/>
            </a:br>
            <a:r>
              <a:rPr lang="en-US" sz="3200" dirty="0">
                <a:solidFill>
                  <a:schemeClr val="accent5"/>
                </a:solidFill>
                <a:latin typeface="+mn-lt"/>
                <a:cs typeface="Segoe UI"/>
              </a:rPr>
              <a:t>Azure Landing Zone Design Principles, Considerations, and Recommendation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50225B-3FBC-433F-995B-F5C2E9963764}"/>
              </a:ext>
            </a:extLst>
          </p:cNvPr>
          <p:cNvSpPr>
            <a:spLocks noGrp="1"/>
          </p:cNvSpPr>
          <p:nvPr>
            <p:ph type="title"/>
          </p:nvPr>
        </p:nvSpPr>
        <p:spPr>
          <a:xfrm>
            <a:off x="456797" y="620828"/>
            <a:ext cx="11304865" cy="402674"/>
          </a:xfrm>
        </p:spPr>
        <p:txBody>
          <a:bodyPr/>
          <a:lstStyle/>
          <a:p>
            <a:r>
              <a:rPr lang="en-US" sz="3600"/>
              <a:t>Common implementation approach</a:t>
            </a:r>
          </a:p>
        </p:txBody>
      </p:sp>
      <p:sp>
        <p:nvSpPr>
          <p:cNvPr id="3" name="Rectangle 2">
            <a:extLst>
              <a:ext uri="{FF2B5EF4-FFF2-40B4-BE49-F238E27FC236}">
                <a16:creationId xmlns:a16="http://schemas.microsoft.com/office/drawing/2014/main" id="{472686BD-A91E-4B9B-9E57-2060B70DC8AE}"/>
              </a:ext>
            </a:extLst>
          </p:cNvPr>
          <p:cNvSpPr/>
          <p:nvPr/>
        </p:nvSpPr>
        <p:spPr>
          <a:xfrm>
            <a:off x="618778" y="3745479"/>
            <a:ext cx="3723015" cy="2681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Azure billing and AD tena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Identity and access 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Network topology and connectiv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Resource organization</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Governance </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Secur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Platform automation and DevOps</a:t>
            </a: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endParaRPr>
          </a:p>
        </p:txBody>
      </p:sp>
      <p:grpSp>
        <p:nvGrpSpPr>
          <p:cNvPr id="9" name="Group 8">
            <a:extLst>
              <a:ext uri="{FF2B5EF4-FFF2-40B4-BE49-F238E27FC236}">
                <a16:creationId xmlns:a16="http://schemas.microsoft.com/office/drawing/2014/main" id="{0556B5F6-B2CF-446C-A024-DB4F48187974}"/>
              </a:ext>
              <a:ext uri="{C183D7F6-B498-43B3-948B-1728B52AA6E4}">
                <adec:decorative xmlns:adec="http://schemas.microsoft.com/office/drawing/2017/decorative" val="1"/>
              </a:ext>
            </a:extLst>
          </p:cNvPr>
          <p:cNvGrpSpPr/>
          <p:nvPr/>
        </p:nvGrpSpPr>
        <p:grpSpPr>
          <a:xfrm>
            <a:off x="7349881" y="2189423"/>
            <a:ext cx="4841256" cy="4451345"/>
            <a:chOff x="7350059" y="1521786"/>
            <a:chExt cx="4841942" cy="4451977"/>
          </a:xfrm>
        </p:grpSpPr>
        <p:sp>
          <p:nvSpPr>
            <p:cNvPr id="12" name="Rectangle 11">
              <a:extLst>
                <a:ext uri="{FF2B5EF4-FFF2-40B4-BE49-F238E27FC236}">
                  <a16:creationId xmlns:a16="http://schemas.microsoft.com/office/drawing/2014/main" id="{8713776B-F16F-46AB-8CFA-A609BF39D19C}"/>
                </a:ext>
              </a:extLst>
            </p:cNvPr>
            <p:cNvSpPr/>
            <p:nvPr/>
          </p:nvSpPr>
          <p:spPr bwMode="auto">
            <a:xfrm>
              <a:off x="7350059" y="1521786"/>
              <a:ext cx="4841942" cy="4451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0B50A127-3685-43A8-9165-227047A12801}"/>
                </a:ext>
              </a:extLst>
            </p:cNvPr>
            <p:cNvPicPr>
              <a:picLocks noChangeAspect="1"/>
            </p:cNvPicPr>
            <p:nvPr/>
          </p:nvPicPr>
          <p:blipFill>
            <a:blip r:embed="rId3"/>
            <a:stretch>
              <a:fillRect/>
            </a:stretch>
          </p:blipFill>
          <p:spPr>
            <a:xfrm>
              <a:off x="7550335" y="1768046"/>
              <a:ext cx="4490640" cy="3480056"/>
            </a:xfrm>
            <a:prstGeom prst="rect">
              <a:avLst/>
            </a:prstGeom>
          </p:spPr>
        </p:pic>
        <p:sp>
          <p:nvSpPr>
            <p:cNvPr id="7" name="Rectangle 6">
              <a:extLst>
                <a:ext uri="{FF2B5EF4-FFF2-40B4-BE49-F238E27FC236}">
                  <a16:creationId xmlns:a16="http://schemas.microsoft.com/office/drawing/2014/main" id="{B8A27BE1-CDFC-48E4-8261-8CFA6C629DD9}"/>
                </a:ext>
              </a:extLst>
            </p:cNvPr>
            <p:cNvSpPr/>
            <p:nvPr/>
          </p:nvSpPr>
          <p:spPr bwMode="auto">
            <a:xfrm>
              <a:off x="11673068" y="4838218"/>
              <a:ext cx="409884" cy="4098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A5DC3C9F-F661-432F-88BD-BBC98DCD66E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326150" y="1478356"/>
            <a:ext cx="2087656" cy="2138706"/>
          </a:xfrm>
          <a:prstGeom prst="rect">
            <a:avLst/>
          </a:prstGeom>
        </p:spPr>
      </p:pic>
      <p:sp>
        <p:nvSpPr>
          <p:cNvPr id="10" name="Rectangle 9">
            <a:extLst>
              <a:ext uri="{FF2B5EF4-FFF2-40B4-BE49-F238E27FC236}">
                <a16:creationId xmlns:a16="http://schemas.microsoft.com/office/drawing/2014/main" id="{1AC7EADB-AD70-4B05-90F9-08052C9ECB33}"/>
              </a:ext>
              <a:ext uri="{C183D7F6-B498-43B3-948B-1728B52AA6E4}">
                <adec:decorative xmlns:adec="http://schemas.microsoft.com/office/drawing/2017/decorative" val="1"/>
              </a:ext>
            </a:extLst>
          </p:cNvPr>
          <p:cNvSpPr/>
          <p:nvPr/>
        </p:nvSpPr>
        <p:spPr bwMode="auto">
          <a:xfrm>
            <a:off x="7170364" y="2403621"/>
            <a:ext cx="4911738" cy="4115439"/>
          </a:xfrm>
          <a:prstGeom prst="rect">
            <a:avLst/>
          </a:prstGeom>
          <a:gradFill>
            <a:gsLst>
              <a:gs pos="9000">
                <a:schemeClr val="bg1"/>
              </a:gs>
              <a:gs pos="8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D554F58E-8E5E-4C36-9B8D-F658BA580786}"/>
              </a:ext>
              <a:ext uri="{C183D7F6-B498-43B3-948B-1728B52AA6E4}">
                <adec:decorative xmlns:adec="http://schemas.microsoft.com/office/drawing/2017/decorative" val="1"/>
              </a:ext>
            </a:extLst>
          </p:cNvPr>
          <p:cNvGrpSpPr/>
          <p:nvPr/>
        </p:nvGrpSpPr>
        <p:grpSpPr>
          <a:xfrm>
            <a:off x="5161104" y="2739163"/>
            <a:ext cx="4092485" cy="449224"/>
            <a:chOff x="4230547" y="2739065"/>
            <a:chExt cx="4093066" cy="449288"/>
          </a:xfrm>
        </p:grpSpPr>
        <p:sp>
          <p:nvSpPr>
            <p:cNvPr id="20" name="Graphic 41">
              <a:extLst>
                <a:ext uri="{FF2B5EF4-FFF2-40B4-BE49-F238E27FC236}">
                  <a16:creationId xmlns:a16="http://schemas.microsoft.com/office/drawing/2014/main" id="{2915DD6C-0BD6-4580-A7B7-CA08BCCFC4C9}"/>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1DF2B1F-CBA6-49C9-9827-D83B81750600}"/>
                </a:ext>
              </a:extLst>
            </p:cNvPr>
            <p:cNvCxnSpPr>
              <a:cxnSpLocks/>
            </p:cNvCxnSpPr>
            <p:nvPr/>
          </p:nvCxnSpPr>
          <p:spPr>
            <a:xfrm>
              <a:off x="4230547" y="2963709"/>
              <a:ext cx="4072078"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A91F35C4-C1B8-46B3-93B7-A37C17A3213A}"/>
              </a:ext>
            </a:extLst>
          </p:cNvPr>
          <p:cNvSpPr txBox="1"/>
          <p:nvPr/>
        </p:nvSpPr>
        <p:spPr>
          <a:xfrm>
            <a:off x="7726146" y="1812672"/>
            <a:ext cx="4355956" cy="492443"/>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Target end-state</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Azure landing zones conceptual architecture</a:t>
            </a:r>
          </a:p>
        </p:txBody>
      </p:sp>
      <p:cxnSp>
        <p:nvCxnSpPr>
          <p:cNvPr id="27" name="Straight Connector 26">
            <a:extLst>
              <a:ext uri="{FF2B5EF4-FFF2-40B4-BE49-F238E27FC236}">
                <a16:creationId xmlns:a16="http://schemas.microsoft.com/office/drawing/2014/main" id="{D17CE021-13CC-40CF-A17F-83D1298D0937}"/>
              </a:ext>
              <a:ext uri="{C183D7F6-B498-43B3-948B-1728B52AA6E4}">
                <adec:decorative xmlns:adec="http://schemas.microsoft.com/office/drawing/2017/decorative" val="1"/>
              </a:ext>
            </a:extLst>
          </p:cNvPr>
          <p:cNvCxnSpPr>
            <a:cxnSpLocks/>
            <a:endCxn id="31" idx="0"/>
          </p:cNvCxnSpPr>
          <p:nvPr/>
        </p:nvCxnSpPr>
        <p:spPr>
          <a:xfrm flipV="1">
            <a:off x="4230812" y="3930122"/>
            <a:ext cx="2281552" cy="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Arc 30" descr="Circular cycle arrow 1">
            <a:extLst>
              <a:ext uri="{FF2B5EF4-FFF2-40B4-BE49-F238E27FC236}">
                <a16:creationId xmlns:a16="http://schemas.microsoft.com/office/drawing/2014/main" id="{67D22157-04EA-4BA5-87A7-67CF02A38C04}"/>
              </a:ext>
            </a:extLst>
          </p:cNvPr>
          <p:cNvSpPr/>
          <p:nvPr/>
        </p:nvSpPr>
        <p:spPr>
          <a:xfrm>
            <a:off x="5564900" y="3930124"/>
            <a:ext cx="1894930" cy="1894930"/>
          </a:xfrm>
          <a:prstGeom prst="arc">
            <a:avLst>
              <a:gd name="adj1" fmla="val 16200000"/>
              <a:gd name="adj2" fmla="val 4115324"/>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TextBox 44">
            <a:extLst>
              <a:ext uri="{FF2B5EF4-FFF2-40B4-BE49-F238E27FC236}">
                <a16:creationId xmlns:a16="http://schemas.microsoft.com/office/drawing/2014/main" id="{EC6A8F7A-2F73-4B16-A083-CFA7736412E3}"/>
              </a:ext>
            </a:extLst>
          </p:cNvPr>
          <p:cNvSpPr txBox="1"/>
          <p:nvPr/>
        </p:nvSpPr>
        <p:spPr>
          <a:xfrm>
            <a:off x="6690735"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Small implementation</a:t>
            </a:r>
          </a:p>
        </p:txBody>
      </p:sp>
      <p:sp>
        <p:nvSpPr>
          <p:cNvPr id="41" name="Arc 40" descr="Circular cycle arrow 2&#10;">
            <a:extLst>
              <a:ext uri="{FF2B5EF4-FFF2-40B4-BE49-F238E27FC236}">
                <a16:creationId xmlns:a16="http://schemas.microsoft.com/office/drawing/2014/main" id="{B5DE5FA4-C5DB-4B70-82AC-A8E4044A8824}"/>
              </a:ext>
            </a:extLst>
          </p:cNvPr>
          <p:cNvSpPr/>
          <p:nvPr/>
        </p:nvSpPr>
        <p:spPr>
          <a:xfrm>
            <a:off x="5564900" y="3930124"/>
            <a:ext cx="1894930" cy="1894930"/>
          </a:xfrm>
          <a:prstGeom prst="arc">
            <a:avLst>
              <a:gd name="adj1" fmla="val 5382306"/>
              <a:gd name="adj2" fmla="val 13572550"/>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5F214E91-4F9D-4022-AD80-F42A9870ABAD}"/>
              </a:ext>
            </a:extLst>
          </p:cNvPr>
          <p:cNvSpPr txBox="1"/>
          <p:nvPr/>
        </p:nvSpPr>
        <p:spPr>
          <a:xfrm>
            <a:off x="4914273"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Iterate</a:t>
            </a:r>
            <a:br>
              <a:rPr kumimoji="0" lang="en-US" sz="1200" b="0" i="0" u="none" strike="noStrike" kern="1200" cap="none" spc="0" normalizeH="0" baseline="0" noProof="0">
                <a:ln>
                  <a:noFill/>
                </a:ln>
                <a:solidFill>
                  <a:srgbClr val="0078D3"/>
                </a:solidFill>
                <a:effectLst/>
                <a:uLnTx/>
                <a:uFillTx/>
                <a:latin typeface="Segoe UI Semibold"/>
                <a:ea typeface="+mn-ea"/>
                <a:cs typeface="+mn-cs"/>
              </a:rPr>
            </a:br>
            <a:r>
              <a:rPr kumimoji="0" lang="en-US" sz="1200" b="0" i="0" u="none" strike="noStrike" kern="1200" cap="none" spc="0" normalizeH="0" baseline="0" noProof="0">
                <a:ln>
                  <a:noFill/>
                </a:ln>
                <a:solidFill>
                  <a:srgbClr val="0078D3"/>
                </a:solidFill>
                <a:effectLst/>
                <a:uLnTx/>
                <a:uFillTx/>
                <a:latin typeface="Segoe UI Semibold"/>
                <a:ea typeface="+mn-ea"/>
                <a:cs typeface="+mn-cs"/>
              </a:rPr>
              <a:t>and check</a:t>
            </a:r>
          </a:p>
        </p:txBody>
      </p:sp>
      <p:grpSp>
        <p:nvGrpSpPr>
          <p:cNvPr id="32" name="Group 31">
            <a:extLst>
              <a:ext uri="{FF2B5EF4-FFF2-40B4-BE49-F238E27FC236}">
                <a16:creationId xmlns:a16="http://schemas.microsoft.com/office/drawing/2014/main" id="{FD0AFC57-C7A7-480D-BBE4-188EE5D3B5FD}"/>
              </a:ext>
              <a:ext uri="{C183D7F6-B498-43B3-948B-1728B52AA6E4}">
                <adec:decorative xmlns:adec="http://schemas.microsoft.com/office/drawing/2017/decorative" val="1"/>
              </a:ext>
            </a:extLst>
          </p:cNvPr>
          <p:cNvGrpSpPr/>
          <p:nvPr/>
        </p:nvGrpSpPr>
        <p:grpSpPr>
          <a:xfrm>
            <a:off x="6512364" y="3707427"/>
            <a:ext cx="2741225" cy="449224"/>
            <a:chOff x="5581999" y="2739065"/>
            <a:chExt cx="2741614" cy="449288"/>
          </a:xfrm>
        </p:grpSpPr>
        <p:sp>
          <p:nvSpPr>
            <p:cNvPr id="33" name="Graphic 41">
              <a:extLst>
                <a:ext uri="{FF2B5EF4-FFF2-40B4-BE49-F238E27FC236}">
                  <a16:creationId xmlns:a16="http://schemas.microsoft.com/office/drawing/2014/main" id="{19A74DFF-889A-415C-92CA-D95DEF9BC6FF}"/>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4" name="Straight Connector 33">
              <a:extLst>
                <a:ext uri="{FF2B5EF4-FFF2-40B4-BE49-F238E27FC236}">
                  <a16:creationId xmlns:a16="http://schemas.microsoft.com/office/drawing/2014/main" id="{785775CA-F843-4FE9-A96E-7078274C37C4}"/>
                </a:ext>
              </a:extLst>
            </p:cNvPr>
            <p:cNvCxnSpPr>
              <a:cxnSpLocks/>
            </p:cNvCxnSpPr>
            <p:nvPr/>
          </p:nvCxnSpPr>
          <p:spPr>
            <a:xfrm>
              <a:off x="5581999" y="2963709"/>
              <a:ext cx="2720626"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Graphic 41">
            <a:extLst>
              <a:ext uri="{FF2B5EF4-FFF2-40B4-BE49-F238E27FC236}">
                <a16:creationId xmlns:a16="http://schemas.microsoft.com/office/drawing/2014/main" id="{A0490C4D-DF7B-4CFE-A34E-844808F27F3B}"/>
              </a:ext>
              <a:ext uri="{C183D7F6-B498-43B3-948B-1728B52AA6E4}">
                <adec:decorative xmlns:adec="http://schemas.microsoft.com/office/drawing/2017/decorative" val="1"/>
              </a:ext>
            </a:extLst>
          </p:cNvPr>
          <p:cNvSpPr/>
          <p:nvPr/>
        </p:nvSpPr>
        <p:spPr>
          <a:xfrm rot="18900000">
            <a:off x="5758972" y="4096226"/>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Graphic 41">
            <a:extLst>
              <a:ext uri="{FF2B5EF4-FFF2-40B4-BE49-F238E27FC236}">
                <a16:creationId xmlns:a16="http://schemas.microsoft.com/office/drawing/2014/main" id="{9177C6A7-17E3-4594-A1EF-564A2852AB6E}"/>
              </a:ext>
              <a:ext uri="{C183D7F6-B498-43B3-948B-1728B52AA6E4}">
                <adec:decorative xmlns:adec="http://schemas.microsoft.com/office/drawing/2017/decorative" val="1"/>
              </a:ext>
            </a:extLst>
          </p:cNvPr>
          <p:cNvSpPr/>
          <p:nvPr/>
        </p:nvSpPr>
        <p:spPr>
          <a:xfrm rot="8952158">
            <a:off x="6851940" y="5597665"/>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EDC0162C-5B15-4849-9304-18D7297ACE90}"/>
              </a:ext>
            </a:extLst>
          </p:cNvPr>
          <p:cNvSpPr txBox="1"/>
          <p:nvPr/>
        </p:nvSpPr>
        <p:spPr>
          <a:xfrm>
            <a:off x="4193559" y="2838812"/>
            <a:ext cx="1727971" cy="221599"/>
          </a:xfrm>
          <a:prstGeom prst="rect">
            <a:avLst/>
          </a:prstGeom>
          <a:solidFill>
            <a:srgbClr val="FFFFFF"/>
          </a:solidFill>
        </p:spPr>
        <p:txBody>
          <a:bodyPr wrap="squar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
        <p:nvSpPr>
          <p:cNvPr id="28" name="TextBox 27">
            <a:extLst>
              <a:ext uri="{FF2B5EF4-FFF2-40B4-BE49-F238E27FC236}">
                <a16:creationId xmlns:a16="http://schemas.microsoft.com/office/drawing/2014/main" id="{86F73137-FDD3-41FC-8A0A-67E37949D0F1}"/>
              </a:ext>
            </a:extLst>
          </p:cNvPr>
          <p:cNvSpPr txBox="1"/>
          <p:nvPr/>
        </p:nvSpPr>
        <p:spPr>
          <a:xfrm>
            <a:off x="4193559" y="3805161"/>
            <a:ext cx="1732243" cy="221599"/>
          </a:xfrm>
          <a:prstGeom prst="rect">
            <a:avLst/>
          </a:prstGeom>
          <a:solidFill>
            <a:srgbClr val="FFFFFF"/>
          </a:solidFill>
        </p:spPr>
        <p:txBody>
          <a:bodyPr wrap="non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few boxes</a:t>
            </a:r>
          </a:p>
        </p:txBody>
      </p:sp>
      <p:sp>
        <p:nvSpPr>
          <p:cNvPr id="47" name="Rectangle 46">
            <a:extLst>
              <a:ext uri="{FF2B5EF4-FFF2-40B4-BE49-F238E27FC236}">
                <a16:creationId xmlns:a16="http://schemas.microsoft.com/office/drawing/2014/main" id="{5E369970-4B98-409E-9230-EC935C63DE75}"/>
              </a:ext>
              <a:ext uri="{C183D7F6-B498-43B3-948B-1728B52AA6E4}">
                <adec:decorative xmlns:adec="http://schemas.microsoft.com/office/drawing/2017/decorative" val="1"/>
              </a:ext>
            </a:extLst>
          </p:cNvPr>
          <p:cNvSpPr/>
          <p:nvPr/>
        </p:nvSpPr>
        <p:spPr bwMode="auto">
          <a:xfrm>
            <a:off x="7349883" y="3757502"/>
            <a:ext cx="1688903" cy="345242"/>
          </a:xfrm>
          <a:prstGeom prst="rect">
            <a:avLst/>
          </a:prstGeom>
          <a:solidFill>
            <a:schemeClr val="bg1"/>
          </a:solidFill>
          <a:ln>
            <a:noFill/>
            <a:headEnd type="none" w="med" len="med"/>
            <a:tailEnd type="none" w="med" len="med"/>
          </a:ln>
          <a:effectLst>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4F8027-2488-40D0-8020-17D02BD5DFED}"/>
              </a:ext>
            </a:extLst>
          </p:cNvPr>
          <p:cNvSpPr txBox="1"/>
          <p:nvPr/>
        </p:nvSpPr>
        <p:spPr>
          <a:xfrm>
            <a:off x="7394542" y="3805161"/>
            <a:ext cx="1598353" cy="221581"/>
          </a:xfrm>
          <a:prstGeom prst="rect">
            <a:avLst/>
          </a:prstGeom>
          <a:no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Tree>
    <p:extLst>
      <p:ext uri="{BB962C8B-B14F-4D97-AF65-F5344CB8AC3E}">
        <p14:creationId xmlns:p14="http://schemas.microsoft.com/office/powerpoint/2010/main" val="641192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par>
                          <p:cTn id="14" fill="hold">
                            <p:stCondLst>
                              <p:cond delay="1500"/>
                            </p:stCondLst>
                            <p:childTnLst>
                              <p:par>
                                <p:cTn id="15" presetID="2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wipe(left)">
                                      <p:cBhvr>
                                        <p:cTn id="17" dur="500"/>
                                        <p:tgtEl>
                                          <p:spTgt spid="22"/>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42"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anim calcmode="lin" valueType="num">
                                      <p:cBhvr>
                                        <p:cTn id="28" dur="500" fill="hold"/>
                                        <p:tgtEl>
                                          <p:spTgt spid="14"/>
                                        </p:tgtEl>
                                        <p:attrNameLst>
                                          <p:attrName>ppt_x</p:attrName>
                                        </p:attrNameLst>
                                      </p:cBhvr>
                                      <p:tavLst>
                                        <p:tav tm="0">
                                          <p:val>
                                            <p:strVal val="#ppt_x"/>
                                          </p:val>
                                        </p:tav>
                                        <p:tav tm="100000">
                                          <p:val>
                                            <p:strVal val="#ppt_x"/>
                                          </p:val>
                                        </p:tav>
                                      </p:tavLst>
                                    </p:anim>
                                    <p:anim calcmode="lin" valueType="num">
                                      <p:cBhvr>
                                        <p:cTn id="29" dur="500" fill="hold"/>
                                        <p:tgtEl>
                                          <p:spTgt spid="14"/>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10" presetClass="entr" presetSubtype="0" fill="hold" grpId="0" nodeType="afterEffect">
                                  <p:stCondLst>
                                    <p:cond delay="7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par>
                          <p:cTn id="34" fill="hold">
                            <p:stCondLst>
                              <p:cond delay="3750"/>
                            </p:stCondLst>
                            <p:childTnLst>
                              <p:par>
                                <p:cTn id="35" presetID="22" presetClass="entr" presetSubtype="8"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par>
                          <p:cTn id="38" fill="hold">
                            <p:stCondLst>
                              <p:cond delay="4250"/>
                            </p:stCondLst>
                            <p:childTnLst>
                              <p:par>
                                <p:cTn id="39" presetID="22" presetClass="entr" presetSubtype="1"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wipe(up)">
                                      <p:cBhvr>
                                        <p:cTn id="41" dur="1000"/>
                                        <p:tgtEl>
                                          <p:spTgt spid="31"/>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50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par>
                          <p:cTn id="48" fill="hold">
                            <p:stCondLst>
                              <p:cond delay="5250"/>
                            </p:stCondLst>
                            <p:childTnLst>
                              <p:par>
                                <p:cTn id="49" presetID="22" presetClass="entr" presetSubtype="4"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down)">
                                      <p:cBhvr>
                                        <p:cTn id="51" dur="1000"/>
                                        <p:tgtEl>
                                          <p:spTgt spid="41"/>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46"/>
                                        </p:tgtEl>
                                        <p:attrNameLst>
                                          <p:attrName>style.visibility</p:attrName>
                                        </p:attrNameLst>
                                      </p:cBhvr>
                                      <p:to>
                                        <p:strVal val="visible"/>
                                      </p:to>
                                    </p:set>
                                    <p:animEffect transition="in" filter="fade">
                                      <p:cBhvr>
                                        <p:cTn id="54" dur="500"/>
                                        <p:tgtEl>
                                          <p:spTgt spid="46"/>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par>
                          <p:cTn id="58" fill="hold">
                            <p:stCondLst>
                              <p:cond delay="6250"/>
                            </p:stCondLst>
                            <p:childTnLst>
                              <p:par>
                                <p:cTn id="59" presetID="10" presetClass="entr" presetSubtype="0"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6750"/>
                            </p:stCondLst>
                            <p:childTnLst>
                              <p:par>
                                <p:cTn id="63" presetID="22" presetClass="entr" presetSubtype="8" fill="hold"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wipe(left)">
                                      <p:cBhvr>
                                        <p:cTn id="6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p:bldP spid="31" grpId="0" animBg="1"/>
      <p:bldP spid="45" grpId="0" animBg="1"/>
      <p:bldP spid="41" grpId="0" animBg="1"/>
      <p:bldP spid="46" grpId="0" animBg="1"/>
      <p:bldP spid="43" grpId="0" animBg="1"/>
      <p:bldP spid="44" grpId="0" animBg="1"/>
      <p:bldP spid="24" grpId="0" animBg="1"/>
      <p:bldP spid="28" grpId="0" animBg="1"/>
      <p:bldP spid="3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800219"/>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a:ln w="3175">
                  <a:noFill/>
                </a:ln>
                <a:solidFill>
                  <a:srgbClr val="000000"/>
                </a:solidFill>
                <a:effectLst/>
                <a:uLnTx/>
                <a:uFillTx/>
                <a:latin typeface="Segoe UI Semibold"/>
                <a:ea typeface="+mn-ea"/>
                <a:cs typeface="Segoe UI" pitchFamily="34" charset="0"/>
              </a:rPr>
              <a:t>Independent software vendor (ISV) considerations for Azure landing zones</a:t>
            </a:r>
          </a:p>
        </p:txBody>
      </p:sp>
      <p:sp>
        <p:nvSpPr>
          <p:cNvPr id="4" name="TextBox 3">
            <a:extLst>
              <a:ext uri="{FF2B5EF4-FFF2-40B4-BE49-F238E27FC236}">
                <a16:creationId xmlns:a16="http://schemas.microsoft.com/office/drawing/2014/main" id="{8188A249-DDCD-E540-DAB8-F752722FDF96}"/>
              </a:ext>
            </a:extLst>
          </p:cNvPr>
          <p:cNvSpPr txBox="1"/>
          <p:nvPr/>
        </p:nvSpPr>
        <p:spPr>
          <a:xfrm>
            <a:off x="206063" y="1088265"/>
            <a:ext cx="3264355"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rId3"/>
              </a:rPr>
              <a:t>https://aka.ms/alz/isv</a:t>
            </a: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pic>
        <p:nvPicPr>
          <p:cNvPr id="1026" name="Picture 2" descr="Diagram that shows a pure SaaS deployment model. A user directly uses the application deployed into the I S V's Azure subscription.">
            <a:extLst>
              <a:ext uri="{FF2B5EF4-FFF2-40B4-BE49-F238E27FC236}">
                <a16:creationId xmlns:a16="http://schemas.microsoft.com/office/drawing/2014/main" id="{D58A1B3C-C221-0D9D-74EF-A9B727DEDE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261" y="2711428"/>
            <a:ext cx="2511280" cy="94542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BC652E4-E6B0-0D4E-28A1-953876E8AB51}"/>
              </a:ext>
            </a:extLst>
          </p:cNvPr>
          <p:cNvSpPr txBox="1"/>
          <p:nvPr/>
        </p:nvSpPr>
        <p:spPr>
          <a:xfrm>
            <a:off x="543016" y="2021661"/>
            <a:ext cx="1707006"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Pure SaaS</a:t>
            </a:r>
          </a:p>
        </p:txBody>
      </p:sp>
      <p:pic>
        <p:nvPicPr>
          <p:cNvPr id="1028" name="Picture 4" descr="Diagram that shows a customer-deployed deployment model. A customer deploys resources provided by the ISV into their own Azure subscription, and users use those resources.">
            <a:extLst>
              <a:ext uri="{FF2B5EF4-FFF2-40B4-BE49-F238E27FC236}">
                <a16:creationId xmlns:a16="http://schemas.microsoft.com/office/drawing/2014/main" id="{1B2AD004-FA99-BCC6-A00F-1B35BF992B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6790" y="2711428"/>
            <a:ext cx="4289999" cy="1560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6338151-6C55-E760-E4D0-17AC0D578D50}"/>
              </a:ext>
            </a:extLst>
          </p:cNvPr>
          <p:cNvSpPr txBox="1"/>
          <p:nvPr/>
        </p:nvSpPr>
        <p:spPr>
          <a:xfrm>
            <a:off x="4250505" y="2021661"/>
            <a:ext cx="3071290"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ustomer-deployed</a:t>
            </a:r>
          </a:p>
        </p:txBody>
      </p:sp>
      <p:pic>
        <p:nvPicPr>
          <p:cNvPr id="1030" name="Picture 6" descr="Diagram that shows a dual deployment SaaS deployment model.">
            <a:extLst>
              <a:ext uri="{FF2B5EF4-FFF2-40B4-BE49-F238E27FC236}">
                <a16:creationId xmlns:a16="http://schemas.microsoft.com/office/drawing/2014/main" id="{15ED2CAE-9192-3F84-8441-66F3987732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40038" y="2761236"/>
            <a:ext cx="4016053" cy="146038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02583509-31F2-C120-D2C9-A3C9F75D3934}"/>
              </a:ext>
            </a:extLst>
          </p:cNvPr>
          <p:cNvSpPr txBox="1"/>
          <p:nvPr/>
        </p:nvSpPr>
        <p:spPr>
          <a:xfrm>
            <a:off x="8018560" y="2083564"/>
            <a:ext cx="343587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ual deployment SaaS</a:t>
            </a:r>
          </a:p>
        </p:txBody>
      </p:sp>
      <p:sp>
        <p:nvSpPr>
          <p:cNvPr id="9" name="TextBox 8">
            <a:extLst>
              <a:ext uri="{FF2B5EF4-FFF2-40B4-BE49-F238E27FC236}">
                <a16:creationId xmlns:a16="http://schemas.microsoft.com/office/drawing/2014/main" id="{7524AD44-ACE3-6CBC-BADB-9C44DA022B5F}"/>
              </a:ext>
            </a:extLst>
          </p:cNvPr>
          <p:cNvSpPr txBox="1"/>
          <p:nvPr/>
        </p:nvSpPr>
        <p:spPr>
          <a:xfrm>
            <a:off x="294985" y="1559460"/>
            <a:ext cx="281180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ISV deployment models:</a:t>
            </a:r>
          </a:p>
        </p:txBody>
      </p:sp>
      <p:sp>
        <p:nvSpPr>
          <p:cNvPr id="10" name="TextBox 9">
            <a:extLst>
              <a:ext uri="{FF2B5EF4-FFF2-40B4-BE49-F238E27FC236}">
                <a16:creationId xmlns:a16="http://schemas.microsoft.com/office/drawing/2014/main" id="{089E06FE-0E90-289C-C3E7-9D0919A1BFDC}"/>
              </a:ext>
            </a:extLst>
          </p:cNvPr>
          <p:cNvSpPr txBox="1"/>
          <p:nvPr/>
        </p:nvSpPr>
        <p:spPr>
          <a:xfrm>
            <a:off x="294984" y="4086762"/>
            <a:ext cx="281180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Azure Active Directory:</a:t>
            </a:r>
          </a:p>
        </p:txBody>
      </p:sp>
      <p:pic>
        <p:nvPicPr>
          <p:cNvPr id="11" name="Picture 2" descr="Diagram that shows Azure AD tenant options for ISVs with a single corporate tenant or separation between corporate and SaaS Ops tenants.">
            <a:extLst>
              <a:ext uri="{FF2B5EF4-FFF2-40B4-BE49-F238E27FC236}">
                <a16:creationId xmlns:a16="http://schemas.microsoft.com/office/drawing/2014/main" id="{2FA2AD13-1032-64D0-014C-A6A49052CCE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4985" y="4439487"/>
            <a:ext cx="5010150" cy="2305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13900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800219"/>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a:ln w="3175">
                  <a:noFill/>
                </a:ln>
                <a:solidFill>
                  <a:srgbClr val="000000"/>
                </a:solidFill>
                <a:effectLst/>
                <a:uLnTx/>
                <a:uFillTx/>
                <a:latin typeface="Segoe UI Semibold"/>
                <a:ea typeface="+mn-ea"/>
                <a:cs typeface="Segoe UI" pitchFamily="34" charset="0"/>
              </a:rPr>
              <a:t>Managed Service Providers (MSP) considerations for Azure landing zones</a:t>
            </a:r>
          </a:p>
        </p:txBody>
      </p:sp>
      <p:sp>
        <p:nvSpPr>
          <p:cNvPr id="8" name="TextBox 7">
            <a:extLst>
              <a:ext uri="{FF2B5EF4-FFF2-40B4-BE49-F238E27FC236}">
                <a16:creationId xmlns:a16="http://schemas.microsoft.com/office/drawing/2014/main" id="{2A83C0CF-7249-F7BA-9A83-DAC77945D985}"/>
              </a:ext>
            </a:extLst>
          </p:cNvPr>
          <p:cNvSpPr txBox="1"/>
          <p:nvPr/>
        </p:nvSpPr>
        <p:spPr>
          <a:xfrm>
            <a:off x="260059" y="1317071"/>
            <a:ext cx="4236363" cy="12926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zure landing zone         Trey Research Reference Implementation </a:t>
            </a:r>
          </a:p>
        </p:txBody>
      </p:sp>
      <p:pic>
        <p:nvPicPr>
          <p:cNvPr id="2052" name="Picture 4" descr="Trey Research">
            <a:extLst>
              <a:ext uri="{FF2B5EF4-FFF2-40B4-BE49-F238E27FC236}">
                <a16:creationId xmlns:a16="http://schemas.microsoft.com/office/drawing/2014/main" id="{69791207-538F-BADE-C7B2-6DFA390C3F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74598" y="1317071"/>
            <a:ext cx="7289851" cy="48278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970287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800219"/>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a:ln w="3175">
                  <a:noFill/>
                </a:ln>
                <a:solidFill>
                  <a:srgbClr val="000000"/>
                </a:solidFill>
                <a:effectLst/>
                <a:uLnTx/>
                <a:uFillTx/>
                <a:latin typeface="Segoe UI Semibold"/>
                <a:ea typeface="+mn-ea"/>
                <a:cs typeface="Segoe UI" pitchFamily="34" charset="0"/>
              </a:rPr>
              <a:t>Managed Service Providers (MSP) considerations for Azure landing zones</a:t>
            </a:r>
          </a:p>
        </p:txBody>
      </p:sp>
      <p:pic>
        <p:nvPicPr>
          <p:cNvPr id="2" name="Picture 1">
            <a:extLst>
              <a:ext uri="{FF2B5EF4-FFF2-40B4-BE49-F238E27FC236}">
                <a16:creationId xmlns:a16="http://schemas.microsoft.com/office/drawing/2014/main" id="{B13AC8AB-1014-08CB-8684-540B63091507}"/>
              </a:ext>
            </a:extLst>
          </p:cNvPr>
          <p:cNvPicPr>
            <a:picLocks noChangeAspect="1"/>
          </p:cNvPicPr>
          <p:nvPr/>
        </p:nvPicPr>
        <p:blipFill>
          <a:blip r:embed="rId3"/>
          <a:stretch>
            <a:fillRect/>
          </a:stretch>
        </p:blipFill>
        <p:spPr>
          <a:xfrm>
            <a:off x="5254912" y="1694389"/>
            <a:ext cx="6584827" cy="3681281"/>
          </a:xfrm>
          <a:prstGeom prst="rect">
            <a:avLst/>
          </a:prstGeom>
        </p:spPr>
      </p:pic>
      <p:sp>
        <p:nvSpPr>
          <p:cNvPr id="8" name="TextBox 7">
            <a:extLst>
              <a:ext uri="{FF2B5EF4-FFF2-40B4-BE49-F238E27FC236}">
                <a16:creationId xmlns:a16="http://schemas.microsoft.com/office/drawing/2014/main" id="{2A83C0CF-7249-F7BA-9A83-DAC77945D985}"/>
              </a:ext>
            </a:extLst>
          </p:cNvPr>
          <p:cNvSpPr txBox="1"/>
          <p:nvPr/>
        </p:nvSpPr>
        <p:spPr>
          <a:xfrm>
            <a:off x="352261" y="1214257"/>
            <a:ext cx="4152550"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zure landing zone Bicep Reference Implementation </a:t>
            </a:r>
          </a:p>
        </p:txBody>
      </p:sp>
      <p:graphicFrame>
        <p:nvGraphicFramePr>
          <p:cNvPr id="10" name="Table 9">
            <a:extLst>
              <a:ext uri="{FF2B5EF4-FFF2-40B4-BE49-F238E27FC236}">
                <a16:creationId xmlns:a16="http://schemas.microsoft.com/office/drawing/2014/main" id="{9374AD06-B5BD-5E20-9212-2E0C8DFDC8AA}"/>
              </a:ext>
            </a:extLst>
          </p:cNvPr>
          <p:cNvGraphicFramePr>
            <a:graphicFrameLocks noGrp="1"/>
          </p:cNvGraphicFramePr>
          <p:nvPr/>
        </p:nvGraphicFramePr>
        <p:xfrm>
          <a:off x="146730" y="2207515"/>
          <a:ext cx="4563612" cy="4298045"/>
        </p:xfrm>
        <a:graphic>
          <a:graphicData uri="http://schemas.openxmlformats.org/drawingml/2006/table">
            <a:tbl>
              <a:tblPr/>
              <a:tblGrid>
                <a:gridCol w="654342">
                  <a:extLst>
                    <a:ext uri="{9D8B030D-6E8A-4147-A177-3AD203B41FA5}">
                      <a16:colId xmlns:a16="http://schemas.microsoft.com/office/drawing/2014/main" val="417494632"/>
                    </a:ext>
                  </a:extLst>
                </a:gridCol>
                <a:gridCol w="1224793">
                  <a:extLst>
                    <a:ext uri="{9D8B030D-6E8A-4147-A177-3AD203B41FA5}">
                      <a16:colId xmlns:a16="http://schemas.microsoft.com/office/drawing/2014/main" val="1207026662"/>
                    </a:ext>
                  </a:extLst>
                </a:gridCol>
                <a:gridCol w="2684477">
                  <a:extLst>
                    <a:ext uri="{9D8B030D-6E8A-4147-A177-3AD203B41FA5}">
                      <a16:colId xmlns:a16="http://schemas.microsoft.com/office/drawing/2014/main" val="3907034874"/>
                    </a:ext>
                  </a:extLst>
                </a:gridCol>
              </a:tblGrid>
              <a:tr h="137371">
                <a:tc>
                  <a:txBody>
                    <a:bodyPr/>
                    <a:lstStyle/>
                    <a:p>
                      <a:pPr algn="ctr"/>
                      <a:r>
                        <a:rPr lang="en-US" sz="800" b="1">
                          <a:effectLst/>
                        </a:rPr>
                        <a:t>Order</a:t>
                      </a:r>
                    </a:p>
                  </a:txBody>
                  <a:tcPr marL="13067" marR="13067" marT="6031" marB="6031" anchor="ctr">
                    <a:lnL>
                      <a:noFill/>
                    </a:lnL>
                    <a:lnR>
                      <a:noFill/>
                    </a:lnR>
                    <a:lnT>
                      <a:noFill/>
                    </a:lnT>
                    <a:lnB>
                      <a:noFill/>
                    </a:lnB>
                    <a:solidFill>
                      <a:srgbClr val="FFFFFF"/>
                    </a:solidFill>
                  </a:tcPr>
                </a:tc>
                <a:tc>
                  <a:txBody>
                    <a:bodyPr/>
                    <a:lstStyle/>
                    <a:p>
                      <a:r>
                        <a:rPr lang="en-US" sz="800" b="1">
                          <a:effectLst/>
                        </a:rPr>
                        <a:t>Module</a:t>
                      </a:r>
                    </a:p>
                  </a:txBody>
                  <a:tcPr marL="13067" marR="13067" marT="6031" marB="6031" anchor="ctr">
                    <a:lnL>
                      <a:noFill/>
                    </a:lnL>
                    <a:lnR>
                      <a:noFill/>
                    </a:lnR>
                    <a:lnT>
                      <a:noFill/>
                    </a:lnT>
                    <a:lnB>
                      <a:noFill/>
                    </a:lnB>
                    <a:solidFill>
                      <a:srgbClr val="FFFFFF"/>
                    </a:solidFill>
                  </a:tcPr>
                </a:tc>
                <a:tc>
                  <a:txBody>
                    <a:bodyPr/>
                    <a:lstStyle/>
                    <a:p>
                      <a:r>
                        <a:rPr lang="en-US" sz="800" b="1">
                          <a:effectLst/>
                        </a:rPr>
                        <a:t>De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610428896"/>
                  </a:ext>
                </a:extLst>
              </a:tr>
              <a:tr h="424071">
                <a:tc>
                  <a:txBody>
                    <a:bodyPr/>
                    <a:lstStyle/>
                    <a:p>
                      <a:pPr algn="ctr"/>
                      <a:r>
                        <a:rPr lang="en-US" sz="800">
                          <a:effectLst/>
                        </a:rPr>
                        <a:t>1</a:t>
                      </a:r>
                    </a:p>
                  </a:txBody>
                  <a:tcPr marL="13067" marR="13067" marT="6031" marB="6031" anchor="ctr">
                    <a:lnL>
                      <a:noFill/>
                    </a:lnL>
                    <a:lnR>
                      <a:noFill/>
                    </a:lnR>
                    <a:lnT>
                      <a:noFill/>
                    </a:lnT>
                    <a:lnB>
                      <a:noFill/>
                    </a:lnB>
                    <a:solidFill>
                      <a:srgbClr val="FFFFFF"/>
                    </a:solidFill>
                  </a:tcPr>
                </a:tc>
                <a:tc>
                  <a:txBody>
                    <a:bodyPr/>
                    <a:lstStyle/>
                    <a:p>
                      <a:r>
                        <a:rPr lang="en-US" sz="800">
                          <a:effectLst/>
                        </a:rPr>
                        <a:t>Management Group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the management group hierarchy to support Azure Landing Zone reference implementa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551563899"/>
                  </a:ext>
                </a:extLst>
              </a:tr>
              <a:tr h="366731">
                <a:tc>
                  <a:txBody>
                    <a:bodyPr/>
                    <a:lstStyle/>
                    <a:p>
                      <a:pPr algn="ctr"/>
                      <a:r>
                        <a:rPr lang="en-US" sz="800">
                          <a:effectLst/>
                        </a:rPr>
                        <a:t>2</a:t>
                      </a:r>
                    </a:p>
                  </a:txBody>
                  <a:tcPr marL="13067" marR="13067" marT="6031" marB="6031" anchor="ctr">
                    <a:lnL>
                      <a:noFill/>
                    </a:lnL>
                    <a:lnR>
                      <a:noFill/>
                    </a:lnR>
                    <a:lnT>
                      <a:noFill/>
                    </a:lnT>
                    <a:lnB>
                      <a:noFill/>
                    </a:lnB>
                    <a:solidFill>
                      <a:srgbClr val="FFFFFF"/>
                    </a:solidFill>
                  </a:tcPr>
                </a:tc>
                <a:tc>
                  <a:txBody>
                    <a:bodyPr/>
                    <a:lstStyle/>
                    <a:p>
                      <a:r>
                        <a:rPr lang="en-US" sz="800">
                          <a:effectLst/>
                        </a:rPr>
                        <a:t>Custom Policy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Policy Defini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02416663"/>
                  </a:ext>
                </a:extLst>
              </a:tr>
              <a:tr h="481410">
                <a:tc>
                  <a:txBody>
                    <a:bodyPr/>
                    <a:lstStyle/>
                    <a:p>
                      <a:pPr algn="ctr"/>
                      <a:r>
                        <a:rPr lang="en-US" sz="800">
                          <a:effectLst/>
                        </a:rPr>
                        <a:t>3</a:t>
                      </a:r>
                    </a:p>
                  </a:txBody>
                  <a:tcPr marL="13067" marR="13067" marT="6031" marB="6031" anchor="ctr">
                    <a:lnL>
                      <a:noFill/>
                    </a:lnL>
                    <a:lnR>
                      <a:noFill/>
                    </a:lnR>
                    <a:lnT>
                      <a:noFill/>
                    </a:lnT>
                    <a:lnB>
                      <a:noFill/>
                    </a:lnB>
                    <a:solidFill>
                      <a:srgbClr val="FFFFFF"/>
                    </a:solidFill>
                  </a:tcPr>
                </a:tc>
                <a:tc>
                  <a:txBody>
                    <a:bodyPr/>
                    <a:lstStyle/>
                    <a:p>
                      <a:r>
                        <a:rPr lang="en-US" sz="800">
                          <a:effectLst/>
                        </a:rPr>
                        <a:t>Custom Role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roles based on Cloud Adoption Framework's recommenda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776763217"/>
                  </a:ext>
                </a:extLst>
              </a:tr>
              <a:tr h="538750">
                <a:tc>
                  <a:txBody>
                    <a:bodyPr/>
                    <a:lstStyle/>
                    <a:p>
                      <a:pPr algn="ctr"/>
                      <a:r>
                        <a:rPr lang="en-US" sz="800">
                          <a:effectLst/>
                        </a:rPr>
                        <a:t>4</a:t>
                      </a:r>
                    </a:p>
                  </a:txBody>
                  <a:tcPr marL="13067" marR="13067" marT="6031" marB="6031" anchor="ctr">
                    <a:lnL>
                      <a:noFill/>
                    </a:lnL>
                    <a:lnR>
                      <a:noFill/>
                    </a:lnR>
                    <a:lnT>
                      <a:noFill/>
                    </a:lnT>
                    <a:lnB>
                      <a:noFill/>
                    </a:lnB>
                    <a:solidFill>
                      <a:srgbClr val="FFFFFF"/>
                    </a:solidFill>
                  </a:tcPr>
                </a:tc>
                <a:tc>
                  <a:txBody>
                    <a:bodyPr/>
                    <a:lstStyle/>
                    <a:p>
                      <a:r>
                        <a:rPr lang="en-US" sz="800">
                          <a:effectLst/>
                        </a:rPr>
                        <a:t>Logging &amp; Sentinel</a:t>
                      </a:r>
                    </a:p>
                  </a:txBody>
                  <a:tcPr marL="13067" marR="13067" marT="6031" marB="6031" anchor="ctr">
                    <a:lnL>
                      <a:noFill/>
                    </a:lnL>
                    <a:lnR>
                      <a:noFill/>
                    </a:lnR>
                    <a:lnT>
                      <a:noFill/>
                    </a:lnT>
                    <a:lnB>
                      <a:noFill/>
                    </a:lnB>
                    <a:solidFill>
                      <a:srgbClr val="FFFFFF"/>
                    </a:solidFill>
                  </a:tcPr>
                </a:tc>
                <a:tc>
                  <a:txBody>
                    <a:bodyPr/>
                    <a:lstStyle/>
                    <a:p>
                      <a:r>
                        <a:rPr lang="en-US" sz="800">
                          <a:effectLst/>
                        </a:rPr>
                        <a:t>Configures a centrally managed Log Analytics Workspace, Automation Account and Sentinel in the Logging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106559018"/>
                  </a:ext>
                </a:extLst>
              </a:tr>
              <a:tr h="538750">
                <a:tc>
                  <a:txBody>
                    <a:bodyPr/>
                    <a:lstStyle/>
                    <a:p>
                      <a:pPr algn="ctr"/>
                      <a:r>
                        <a:rPr lang="en-US" sz="800">
                          <a:effectLst/>
                        </a:rPr>
                        <a:t>5</a:t>
                      </a:r>
                    </a:p>
                  </a:txBody>
                  <a:tcPr marL="13067" marR="13067" marT="6031" marB="6031" anchor="ctr">
                    <a:lnL>
                      <a:noFill/>
                    </a:lnL>
                    <a:lnR>
                      <a:noFill/>
                    </a:lnR>
                    <a:lnT>
                      <a:noFill/>
                    </a:lnT>
                    <a:lnB>
                      <a:noFill/>
                    </a:lnB>
                    <a:solidFill>
                      <a:srgbClr val="FFFFFF"/>
                    </a:solidFill>
                  </a:tcPr>
                </a:tc>
                <a:tc>
                  <a:txBody>
                    <a:bodyPr/>
                    <a:lstStyle/>
                    <a:p>
                      <a:r>
                        <a:rPr lang="en-US" sz="800">
                          <a:effectLst/>
                        </a:rPr>
                        <a:t>Hub Networking</a:t>
                      </a:r>
                    </a:p>
                  </a:txBody>
                  <a:tcPr marL="13067" marR="13067" marT="6031" marB="6031" anchor="ctr">
                    <a:lnL>
                      <a:noFill/>
                    </a:lnL>
                    <a:lnR>
                      <a:noFill/>
                    </a:lnR>
                    <a:lnT>
                      <a:noFill/>
                    </a:lnT>
                    <a:lnB>
                      <a:noFill/>
                    </a:lnB>
                    <a:solidFill>
                      <a:srgbClr val="FFFFFF"/>
                    </a:solidFill>
                  </a:tcPr>
                </a:tc>
                <a:tc>
                  <a:txBody>
                    <a:bodyPr/>
                    <a:lstStyle/>
                    <a:p>
                      <a:r>
                        <a:rPr lang="en-US" sz="800">
                          <a:effectLst/>
                        </a:rPr>
                        <a:t>Azure supports two types of hub-and-spoke design, VNet hub and Virtual WAN hub. Creates resources in the Connectivity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071479682"/>
                  </a:ext>
                </a:extLst>
              </a:tr>
              <a:tr h="309391">
                <a:tc>
                  <a:txBody>
                    <a:bodyPr/>
                    <a:lstStyle/>
                    <a:p>
                      <a:pPr algn="ctr"/>
                      <a:r>
                        <a:rPr lang="en-US" sz="800">
                          <a:effectLst/>
                        </a:rPr>
                        <a:t>6</a:t>
                      </a:r>
                    </a:p>
                  </a:txBody>
                  <a:tcPr marL="13067" marR="13067" marT="6031" marB="6031" anchor="ctr">
                    <a:lnL>
                      <a:noFill/>
                    </a:lnL>
                    <a:lnR>
                      <a:noFill/>
                    </a:lnR>
                    <a:lnT>
                      <a:noFill/>
                    </a:lnT>
                    <a:lnB>
                      <a:noFill/>
                    </a:lnB>
                    <a:solidFill>
                      <a:srgbClr val="FFFFFF"/>
                    </a:solidFill>
                  </a:tcPr>
                </a:tc>
                <a:tc>
                  <a:txBody>
                    <a:bodyPr/>
                    <a:lstStyle/>
                    <a:p>
                      <a:r>
                        <a:rPr lang="en-US" sz="800">
                          <a:effectLst/>
                        </a:rPr>
                        <a:t>Role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role assignments using built-in and custom role definitions.</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855515094"/>
                  </a:ext>
                </a:extLst>
              </a:tr>
              <a:tr h="481410">
                <a:tc>
                  <a:txBody>
                    <a:bodyPr/>
                    <a:lstStyle/>
                    <a:p>
                      <a:pPr algn="ctr"/>
                      <a:r>
                        <a:rPr lang="en-US" sz="800">
                          <a:effectLst/>
                        </a:rPr>
                        <a:t>7</a:t>
                      </a:r>
                    </a:p>
                  </a:txBody>
                  <a:tcPr marL="13067" marR="13067" marT="6031" marB="6031" anchor="ctr">
                    <a:lnL>
                      <a:noFill/>
                    </a:lnL>
                    <a:lnR>
                      <a:noFill/>
                    </a:lnR>
                    <a:lnT>
                      <a:noFill/>
                    </a:lnT>
                    <a:lnB>
                      <a:noFill/>
                    </a:lnB>
                    <a:solidFill>
                      <a:srgbClr val="FFFFFF"/>
                    </a:solidFill>
                  </a:tcPr>
                </a:tc>
                <a:tc>
                  <a:txBody>
                    <a:bodyPr/>
                    <a:lstStyle/>
                    <a:p>
                      <a:r>
                        <a:rPr lang="en-US" sz="800">
                          <a:effectLst/>
                        </a:rPr>
                        <a:t>Subscription Placement</a:t>
                      </a:r>
                    </a:p>
                  </a:txBody>
                  <a:tcPr marL="13067" marR="13067" marT="6031" marB="6031" anchor="ctr">
                    <a:lnL>
                      <a:noFill/>
                    </a:lnL>
                    <a:lnR>
                      <a:noFill/>
                    </a:lnR>
                    <a:lnT>
                      <a:noFill/>
                    </a:lnT>
                    <a:lnB>
                      <a:noFill/>
                    </a:lnB>
                    <a:solidFill>
                      <a:srgbClr val="FFFFFF"/>
                    </a:solidFill>
                  </a:tcPr>
                </a:tc>
                <a:tc>
                  <a:txBody>
                    <a:bodyPr/>
                    <a:lstStyle/>
                    <a:p>
                      <a:r>
                        <a:rPr lang="en-US" sz="800">
                          <a:effectLst/>
                        </a:rPr>
                        <a:t>Moves one or more subscriptions (based on IDs) to the target Management Groups in your ALZ hierarchy.</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983837937"/>
                  </a:ext>
                </a:extLst>
              </a:tr>
              <a:tr h="366731">
                <a:tc>
                  <a:txBody>
                    <a:bodyPr/>
                    <a:lstStyle/>
                    <a:p>
                      <a:pPr algn="ctr"/>
                      <a:r>
                        <a:rPr lang="en-US" sz="800">
                          <a:effectLst/>
                        </a:rPr>
                        <a:t>8</a:t>
                      </a:r>
                    </a:p>
                  </a:txBody>
                  <a:tcPr marL="13067" marR="13067" marT="6031" marB="6031" anchor="ctr">
                    <a:lnL>
                      <a:noFill/>
                    </a:lnL>
                    <a:lnR>
                      <a:noFill/>
                    </a:lnR>
                    <a:lnT>
                      <a:noFill/>
                    </a:lnT>
                    <a:lnB>
                      <a:noFill/>
                    </a:lnB>
                    <a:solidFill>
                      <a:srgbClr val="FFFFFF"/>
                    </a:solidFill>
                  </a:tcPr>
                </a:tc>
                <a:tc>
                  <a:txBody>
                    <a:bodyPr/>
                    <a:lstStyle/>
                    <a:p>
                      <a:r>
                        <a:rPr lang="en-US" sz="800">
                          <a:effectLst/>
                        </a:rPr>
                        <a:t>Built-In and Custom Policy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policy assignments to provide governance at scale.</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2364483357"/>
                  </a:ext>
                </a:extLst>
              </a:tr>
              <a:tr h="653430">
                <a:tc>
                  <a:txBody>
                    <a:bodyPr/>
                    <a:lstStyle/>
                    <a:p>
                      <a:pPr algn="ctr"/>
                      <a:r>
                        <a:rPr lang="en-US" sz="800">
                          <a:effectLst/>
                        </a:rPr>
                        <a:t>9</a:t>
                      </a:r>
                    </a:p>
                  </a:txBody>
                  <a:tcPr marL="13067" marR="13067" marT="6031" marB="6031" anchor="ctr">
                    <a:lnL>
                      <a:noFill/>
                    </a:lnL>
                    <a:lnR>
                      <a:noFill/>
                    </a:lnR>
                    <a:lnT>
                      <a:noFill/>
                    </a:lnT>
                    <a:lnB>
                      <a:noFill/>
                    </a:lnB>
                    <a:solidFill>
                      <a:srgbClr val="FFFFFF"/>
                    </a:solidFill>
                  </a:tcPr>
                </a:tc>
                <a:tc>
                  <a:txBody>
                    <a:bodyPr/>
                    <a:lstStyle/>
                    <a:p>
                      <a:r>
                        <a:rPr lang="en-US" sz="800">
                          <a:effectLst/>
                        </a:rPr>
                        <a:t>Spoke Networking</a:t>
                      </a:r>
                    </a:p>
                  </a:txBody>
                  <a:tcPr marL="13067" marR="13067" marT="6031" marB="6031" anchor="ctr">
                    <a:lnL>
                      <a:noFill/>
                    </a:lnL>
                    <a:lnR>
                      <a:noFill/>
                    </a:lnR>
                    <a:lnT>
                      <a:noFill/>
                    </a:lnT>
                    <a:lnB>
                      <a:noFill/>
                    </a:lnB>
                    <a:solidFill>
                      <a:srgbClr val="FFFFFF"/>
                    </a:solidFill>
                  </a:tcPr>
                </a:tc>
                <a:tc>
                  <a:txBody>
                    <a:bodyPr/>
                    <a:lstStyle/>
                    <a:p>
                      <a:r>
                        <a:rPr lang="en-US" sz="800">
                          <a:effectLst/>
                        </a:rPr>
                        <a:t>Creates Spoke networking infrastructure for workloads with Virtual Network Peering (optional) to support Hub &amp; Spoke network topology or Virtual Hub Connection (optional).</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26722347"/>
                  </a:ext>
                </a:extLst>
              </a:tr>
            </a:tbl>
          </a:graphicData>
        </a:graphic>
      </p:graphicFrame>
      <p:sp>
        <p:nvSpPr>
          <p:cNvPr id="4" name="TextBox 3">
            <a:extLst>
              <a:ext uri="{FF2B5EF4-FFF2-40B4-BE49-F238E27FC236}">
                <a16:creationId xmlns:a16="http://schemas.microsoft.com/office/drawing/2014/main" id="{C082D370-A204-8BA4-F692-2CA75F384FDA}"/>
              </a:ext>
            </a:extLst>
          </p:cNvPr>
          <p:cNvSpPr txBox="1"/>
          <p:nvPr/>
        </p:nvSpPr>
        <p:spPr>
          <a:xfrm>
            <a:off x="8255800" y="769387"/>
            <a:ext cx="3652282"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rId4"/>
              </a:rPr>
              <a:t>https://aka.ms/alz/bicep</a:t>
            </a: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22558595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Considerations &amp; Recommendation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5125834" y="4779326"/>
            <a:ext cx="6406689" cy="1378534"/>
          </a:xfrm>
          <a:prstGeom prst="rect">
            <a:avLst/>
          </a:prstGeom>
        </p:spPr>
        <p:txBody>
          <a:bodyPr wrap="square" anchor="ctr">
            <a:noAutofit/>
          </a:bodyPr>
          <a:lstStyle/>
          <a:p>
            <a:r>
              <a:rPr lang="en-US" sz="1400" b="0" i="0" dirty="0">
                <a:solidFill>
                  <a:srgbClr val="171717"/>
                </a:solidFill>
                <a:effectLst/>
                <a:latin typeface="Segoe UI" panose="020B0502040204020203" pitchFamily="34" charset="0"/>
              </a:rPr>
              <a:t>This critical design area focuses on the two highest levels of alignment across all of your Azure deployments; your Azure billing offer and the association of that offer with an Azure Active Directory (Azure AD) tenant.</a:t>
            </a:r>
            <a:endParaRPr lang="en-GB" sz="2800" dirty="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5340" y="223126"/>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Billing &amp; AAD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67185"/>
          </a:xfrm>
        </p:spPr>
        <p:txBody>
          <a:bodyPr/>
          <a:lstStyle/>
          <a:p>
            <a:r>
              <a:rPr lang="en-US" sz="1800" dirty="0"/>
              <a:t>Ask basic security questions during the Azure AD design phase such as how the customer manages credentials and how they controls human, application, and programmatic access.</a:t>
            </a:r>
          </a:p>
          <a:p>
            <a:r>
              <a:rPr lang="en-US" sz="1800" dirty="0"/>
              <a:t>Remember that an Azure subscription can only trust one and only one Azure AD tenant at a time.</a:t>
            </a:r>
          </a:p>
          <a:p>
            <a:r>
              <a:rPr lang="en-US" sz="1800" dirty="0"/>
              <a:t>If there’s no identity infrastructure, start by implementing an Azure AD only identity deployment. But don’t forget to define your Azure SSO strategy!</a:t>
            </a:r>
          </a:p>
          <a:p>
            <a:r>
              <a:rPr lang="en-US" sz="1800" dirty="0"/>
              <a:t>Add at least one custom domain and define a single-sign on strategy using AAD Connect.</a:t>
            </a:r>
          </a:p>
          <a:p>
            <a:r>
              <a:rPr lang="en-US" sz="1800" dirty="0"/>
              <a:t>Enforce MFA via CAP for all privileged accounts ASAP. No MFA = “</a:t>
            </a:r>
            <a:r>
              <a:rPr lang="en-US" sz="1800" dirty="0" err="1"/>
              <a:t>pleasebreachme</a:t>
            </a:r>
            <a:r>
              <a:rPr lang="en-US" sz="1800" dirty="0"/>
              <a:t>”! And don’t forget to create a break-glass account.</a:t>
            </a:r>
          </a:p>
          <a:p>
            <a:r>
              <a:rPr lang="en-US" sz="1800" dirty="0"/>
              <a:t>Use Azure Lighthouse to grant 3rd parties and / or Microsoft partners access to Azure. But note that Azure Lighthouse only supports delegation at the subscription and resource group scopes.</a:t>
            </a:r>
          </a:p>
          <a:p>
            <a:r>
              <a:rPr lang="en-US" sz="1800" dirty="0"/>
              <a:t>Avoid creating multiple Azure AD tenants. Even if you are an ISV. Unless you have a rock-solid reason.</a:t>
            </a:r>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56098" y="133234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4" end="4"/>
                                            </p:txEl>
                                          </p:spTgt>
                                        </p:tgtEl>
                                        <p:attrNameLst>
                                          <p:attrName>style.visibility</p:attrName>
                                        </p:attrNameLst>
                                      </p:cBhvr>
                                      <p:to>
                                        <p:strVal val="visible"/>
                                      </p:to>
                                    </p:set>
                                    <p:animEffect transition="in" filter="fade">
                                      <p:cBhvr>
                                        <p:cTn id="7" dur="500"/>
                                        <p:tgtEl>
                                          <p:spTgt spid="15">
                                            <p:txEl>
                                              <p:pRg st="4" end="4"/>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5" end="5"/>
                                            </p:txEl>
                                          </p:spTgt>
                                        </p:tgtEl>
                                        <p:attrNameLst>
                                          <p:attrName>style.visibility</p:attrName>
                                        </p:attrNameLst>
                                      </p:cBhvr>
                                      <p:to>
                                        <p:strVal val="visible"/>
                                      </p:to>
                                    </p:set>
                                    <p:animEffect transition="in" filter="fade">
                                      <p:cBhvr>
                                        <p:cTn id="12" dur="500"/>
                                        <p:tgtEl>
                                          <p:spTgt spid="15">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6" end="6"/>
                                            </p:txEl>
                                          </p:spTgt>
                                        </p:tgtEl>
                                        <p:attrNameLst>
                                          <p:attrName>style.visibility</p:attrName>
                                        </p:attrNameLst>
                                      </p:cBhvr>
                                      <p:to>
                                        <p:strVal val="visible"/>
                                      </p:to>
                                    </p:set>
                                    <p:animEffect transition="in" filter="fade">
                                      <p:cBhvr>
                                        <p:cTn id="17" dur="500"/>
                                        <p:tgtEl>
                                          <p:spTgt spid="15">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0" end="0"/>
                                            </p:txEl>
                                          </p:spTgt>
                                        </p:tgtEl>
                                        <p:attrNameLst>
                                          <p:attrName>style.visibility</p:attrName>
                                        </p:attrNameLst>
                                      </p:cBhvr>
                                      <p:to>
                                        <p:strVal val="visible"/>
                                      </p:to>
                                    </p:set>
                                    <p:animEffect transition="in" filter="fade">
                                      <p:cBhvr>
                                        <p:cTn id="22" dur="500"/>
                                        <p:tgtEl>
                                          <p:spTgt spid="15">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1" end="1"/>
                                            </p:txEl>
                                          </p:spTgt>
                                        </p:tgtEl>
                                        <p:attrNameLst>
                                          <p:attrName>style.visibility</p:attrName>
                                        </p:attrNameLst>
                                      </p:cBhvr>
                                      <p:to>
                                        <p:strVal val="visible"/>
                                      </p:to>
                                    </p:set>
                                    <p:animEffect transition="in" filter="fade">
                                      <p:cBhvr>
                                        <p:cTn id="27" dur="500"/>
                                        <p:tgtEl>
                                          <p:spTgt spid="15">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2" end="2"/>
                                            </p:txEl>
                                          </p:spTgt>
                                        </p:tgtEl>
                                        <p:attrNameLst>
                                          <p:attrName>style.visibility</p:attrName>
                                        </p:attrNameLst>
                                      </p:cBhvr>
                                      <p:to>
                                        <p:strVal val="visible"/>
                                      </p:to>
                                    </p:set>
                                    <p:animEffect transition="in" filter="fade">
                                      <p:cBhvr>
                                        <p:cTn id="32" dur="500"/>
                                        <p:tgtEl>
                                          <p:spTgt spid="15">
                                            <p:txEl>
                                              <p:pRg st="2" end="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3" end="3"/>
                                            </p:txEl>
                                          </p:spTgt>
                                        </p:tgtEl>
                                        <p:attrNameLst>
                                          <p:attrName>style.visibility</p:attrName>
                                        </p:attrNameLst>
                                      </p:cBhvr>
                                      <p:to>
                                        <p:strVal val="visible"/>
                                      </p:to>
                                    </p:set>
                                    <p:animEffect transition="in" filter="fade">
                                      <p:cBhvr>
                                        <p:cTn id="37" dur="500"/>
                                        <p:tgtEl>
                                          <p:spTgt spid="1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006889" y="4674687"/>
            <a:ext cx="7024398" cy="7585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400" b="0" i="0" dirty="0">
                <a:solidFill>
                  <a:srgbClr val="171717"/>
                </a:solidFill>
                <a:effectLst/>
                <a:latin typeface="Segoe UI" panose="020B0502040204020203" pitchFamily="34" charset="0"/>
              </a:rPr>
              <a:t>This critical design area establishes a foundation for the management of identity and access.</a:t>
            </a:r>
            <a:br>
              <a:rPr lang="en-GB" b="1" dirty="0"/>
            </a:br>
            <a:endParaRPr lang="en-GB" dirty="0"/>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1876340" y="2617430"/>
            <a:ext cx="241196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AD Roles</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069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AD and Azure Roles</a:t>
            </a:r>
          </a:p>
          <a:p>
            <a:pPr marL="0" marR="0" lvl="0" indent="0" defTabSz="914102" rtl="0" eaLnBrk="1" fontAlgn="base" latinLnBrk="0" hangingPunct="1">
              <a:lnSpc>
                <a:spcPct val="90000"/>
              </a:lnSpc>
              <a:spcBef>
                <a:spcPts val="588"/>
              </a:spcBef>
              <a:spcAft>
                <a:spcPct val="0"/>
              </a:spcAft>
              <a:buClrTx/>
              <a:buSzTx/>
              <a:buFontTx/>
              <a:buNone/>
              <a:tabLst/>
              <a:defRPr/>
            </a:pPr>
            <a:r>
              <a:rPr lang="en-US" sz="2000" spc="-50" dirty="0">
                <a:ln w="3175">
                  <a:noFill/>
                </a:ln>
                <a:solidFill>
                  <a:srgbClr val="FFFFFF"/>
                </a:solidFill>
                <a:latin typeface="Segoe UI Semibold"/>
                <a:cs typeface="Segoe UI" pitchFamily="34" charset="0"/>
              </a:rPr>
              <a: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on’t confuse the two of them)</a:t>
            </a:r>
          </a:p>
        </p:txBody>
      </p:sp>
      <p:sp>
        <p:nvSpPr>
          <p:cNvPr id="28" name="Rectangle 27">
            <a:extLst>
              <a:ext uri="{FF2B5EF4-FFF2-40B4-BE49-F238E27FC236}">
                <a16:creationId xmlns:a16="http://schemas.microsoft.com/office/drawing/2014/main" id="{341B4838-6E5C-4EEB-B099-9F71B699AA18}"/>
              </a:ext>
            </a:extLst>
          </p:cNvPr>
          <p:cNvSpPr/>
          <p:nvPr/>
        </p:nvSpPr>
        <p:spPr bwMode="auto">
          <a:xfrm>
            <a:off x="7180792" y="2617430"/>
            <a:ext cx="3235747"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IAM Roles</a:t>
            </a:r>
          </a:p>
        </p:txBody>
      </p:sp>
      <p:sp>
        <p:nvSpPr>
          <p:cNvPr id="29" name="Rectangle 28">
            <a:extLst>
              <a:ext uri="{FF2B5EF4-FFF2-40B4-BE49-F238E27FC236}">
                <a16:creationId xmlns:a16="http://schemas.microsoft.com/office/drawing/2014/main" id="{929BEB5C-D9F8-409E-828E-0F6BF9776A57}"/>
              </a:ext>
            </a:extLst>
          </p:cNvPr>
          <p:cNvSpPr/>
          <p:nvPr/>
        </p:nvSpPr>
        <p:spPr bwMode="auto">
          <a:xfrm>
            <a:off x="1291621" y="3724467"/>
            <a:ext cx="3581400" cy="18053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 access to Azure AD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an be scoped to Tenant, Administrative Unit, or Object (application)</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ccessible in the Azure Portal and M365 Admin Portal</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AD Global Admin can self-assign permissions to manage Azure resource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73646"/>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BA75586-599E-45E1-A3E8-40E1594EB09E}"/>
              </a:ext>
            </a:extLst>
          </p:cNvPr>
          <p:cNvSpPr/>
          <p:nvPr/>
        </p:nvSpPr>
        <p:spPr bwMode="auto">
          <a:xfrm>
            <a:off x="7007965" y="3705804"/>
            <a:ext cx="3581400" cy="1146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t>
            </a:r>
            <a:r>
              <a:rPr kumimoji="0" lang="en-US" sz="1400" b="1" i="0" u="none" strike="noStrike" kern="1200" cap="none" spc="-50" normalizeH="0" baseline="0" noProof="0">
                <a:ln w="3175">
                  <a:noFill/>
                </a:ln>
                <a:solidFill>
                  <a:srgbClr val="00B0F0"/>
                </a:solidFill>
                <a:effectLst/>
                <a:uLnTx/>
                <a:uFillTx/>
                <a:latin typeface="Segoe UI Semibold"/>
                <a:ea typeface="+mn-ea"/>
                <a:cs typeface="Segoe UI" pitchFamily="34" charset="0"/>
              </a:rPr>
              <a:t>Azure</a:t>
            </a: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Management Group, Subscription, Resource Group, or Resource</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a:t>
            </a:r>
          </a:p>
        </p:txBody>
      </p:sp>
      <p:cxnSp>
        <p:nvCxnSpPr>
          <p:cNvPr id="19" name="Straight Connector 18">
            <a:extLst>
              <a:ext uri="{FF2B5EF4-FFF2-40B4-BE49-F238E27FC236}">
                <a16:creationId xmlns:a16="http://schemas.microsoft.com/office/drawing/2014/main" id="{21E36A1E-80EB-45DF-A45E-3A3686BB803D}"/>
              </a:ext>
            </a:extLst>
          </p:cNvPr>
          <p:cNvCxnSpPr>
            <a:cxnSpLocks/>
          </p:cNvCxnSpPr>
          <p:nvPr/>
        </p:nvCxnSpPr>
        <p:spPr>
          <a:xfrm>
            <a:off x="3787562" y="2818275"/>
            <a:ext cx="218172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908EB6-CC44-43CE-A03C-0DE0E0446BDA}"/>
              </a:ext>
            </a:extLst>
          </p:cNvPr>
          <p:cNvCxnSpPr>
            <a:cxnSpLocks/>
          </p:cNvCxnSpPr>
          <p:nvPr/>
        </p:nvCxnSpPr>
        <p:spPr>
          <a:xfrm>
            <a:off x="5969286" y="2818275"/>
            <a:ext cx="177134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A8C6AA9-9A84-4691-A3A4-D2040BAD10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11981" y="2324494"/>
            <a:ext cx="1101432" cy="1101432"/>
          </a:xfrm>
          <a:prstGeom prst="rect">
            <a:avLst/>
          </a:prstGeom>
        </p:spPr>
      </p:pic>
    </p:spTree>
    <p:custDataLst>
      <p:tags r:id="rId1"/>
    </p:custDataLst>
    <p:extLst>
      <p:ext uri="{BB962C8B-B14F-4D97-AF65-F5344CB8AC3E}">
        <p14:creationId xmlns:p14="http://schemas.microsoft.com/office/powerpoint/2010/main" val="20984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fade">
                                      <p:cBhvr>
                                        <p:cTn id="12" dur="500"/>
                                        <p:tgtEl>
                                          <p:spTgt spid="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fade">
                                      <p:cBhvr>
                                        <p:cTn id="17" dur="500"/>
                                        <p:tgtEl>
                                          <p:spTgt spid="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xEl>
                                              <p:pRg st="3" end="3"/>
                                            </p:txEl>
                                          </p:spTgt>
                                        </p:tgtEl>
                                        <p:attrNameLst>
                                          <p:attrName>style.visibility</p:attrName>
                                        </p:attrNameLst>
                                      </p:cBhvr>
                                      <p:to>
                                        <p:strVal val="visible"/>
                                      </p:to>
                                    </p:set>
                                    <p:animEffect transition="in" filter="fade">
                                      <p:cBhvr>
                                        <p:cTn id="22" dur="500"/>
                                        <p:tgtEl>
                                          <p:spTgt spid="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inVertical)">
                                      <p:cBhvr>
                                        <p:cTn id="27" dur="500"/>
                                        <p:tgtEl>
                                          <p:spTgt spid="1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animEffect transition="in" filter="fade">
                                      <p:cBhvr>
                                        <p:cTn id="41" dur="500"/>
                                        <p:tgtEl>
                                          <p:spTgt spid="16">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6">
                                            <p:txEl>
                                              <p:pRg st="2" end="2"/>
                                            </p:txEl>
                                          </p:spTgt>
                                        </p:tgtEl>
                                        <p:attrNameLst>
                                          <p:attrName>style.visibility</p:attrName>
                                        </p:attrNameLst>
                                      </p:cBhvr>
                                      <p:to>
                                        <p:strVal val="visible"/>
                                      </p:to>
                                    </p:set>
                                    <p:animEffect transition="in" filter="fade">
                                      <p:cBhvr>
                                        <p:cTn id="46"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t>Microsoft Cloud Adoption Framework for </a:t>
            </a:r>
            <a:r>
              <a:rPr lang="en-US" sz="3600">
                <a:solidFill>
                  <a:schemeClr val="tx2"/>
                </a:solidFill>
              </a:rPr>
              <a:t>Azure</a:t>
            </a:r>
            <a:endParaRPr lang="en-IN" sz="3600">
              <a:solidFill>
                <a:schemeClr val="tx2"/>
              </a:solidFill>
            </a:endParaRPr>
          </a:p>
        </p:txBody>
      </p:sp>
      <p:sp>
        <p:nvSpPr>
          <p:cNvPr id="56" name="Rectangle: Rounded Corners 82" descr="Define strategy&#10;Understand motivations&#10;Business outcomes&#10;Business justification&#10;Prioritize project&#10;">
            <a:extLst>
              <a:ext uri="{FF2B5EF4-FFF2-40B4-BE49-F238E27FC236}">
                <a16:creationId xmlns:a16="http://schemas.microsoft.com/office/drawing/2014/main" id="{86DC19F6-B012-4D2A-8C37-363BBBC54494}"/>
              </a:ext>
              <a:ext uri="{C183D7F6-B498-43B3-948B-1728B52AA6E4}">
                <adec:decorative xmlns:adec="http://schemas.microsoft.com/office/drawing/2017/decorative" val="0"/>
              </a:ext>
            </a:extLst>
          </p:cNvPr>
          <p:cNvSpPr/>
          <p:nvPr/>
        </p:nvSpPr>
        <p:spPr>
          <a:xfrm>
            <a:off x="392164"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outcome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Arrow Connector 69">
            <a:extLst>
              <a:ext uri="{FF2B5EF4-FFF2-40B4-BE49-F238E27FC236}">
                <a16:creationId xmlns:a16="http://schemas.microsoft.com/office/drawing/2014/main" id="{9E9C0D5A-E87F-4FD9-95CB-A7E4140F43D7}"/>
              </a:ext>
              <a:ext uri="{C183D7F6-B498-43B3-948B-1728B52AA6E4}">
                <adec:decorative xmlns:adec="http://schemas.microsoft.com/office/drawing/2017/decorative" val="1"/>
              </a:ext>
            </a:extLst>
          </p:cNvPr>
          <p:cNvCxnSpPr>
            <a:cxnSpLocks/>
          </p:cNvCxnSpPr>
          <p:nvPr/>
        </p:nvCxnSpPr>
        <p:spPr>
          <a:xfrm>
            <a:off x="2671962" y="3123999"/>
            <a:ext cx="477129"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9" name="Rectangle: Rounded Corners 75" descr="Plan&#10;Digital estate&#10;Initial organization alignment&#10;Skills readiness plan&#10;Cloud adoption plan">
            <a:extLst>
              <a:ext uri="{FF2B5EF4-FFF2-40B4-BE49-F238E27FC236}">
                <a16:creationId xmlns:a16="http://schemas.microsoft.com/office/drawing/2014/main" id="{7A641BB3-13AF-4560-85A0-6138BAC29024}"/>
              </a:ext>
              <a:ext uri="{C183D7F6-B498-43B3-948B-1728B52AA6E4}">
                <adec:decorative xmlns:adec="http://schemas.microsoft.com/office/drawing/2017/decorative" val="0"/>
              </a:ext>
            </a:extLst>
          </p:cNvPr>
          <p:cNvSpPr/>
          <p:nvPr/>
        </p:nvSpPr>
        <p:spPr>
          <a:xfrm>
            <a:off x="3155990" y="1891631"/>
            <a:ext cx="2435953"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cxnSp>
        <p:nvCxnSpPr>
          <p:cNvPr id="71" name="Straight Arrow Connector 70">
            <a:extLst>
              <a:ext uri="{FF2B5EF4-FFF2-40B4-BE49-F238E27FC236}">
                <a16:creationId xmlns:a16="http://schemas.microsoft.com/office/drawing/2014/main" id="{9C2BA960-7738-4DAF-925D-445F96314D80}"/>
              </a:ext>
              <a:ext uri="{C183D7F6-B498-43B3-948B-1728B52AA6E4}">
                <adec:decorative xmlns:adec="http://schemas.microsoft.com/office/drawing/2017/decorative" val="1"/>
              </a:ext>
            </a:extLst>
          </p:cNvPr>
          <p:cNvCxnSpPr>
            <a:cxnSpLocks/>
          </p:cNvCxnSpPr>
          <p:nvPr/>
        </p:nvCxnSpPr>
        <p:spPr>
          <a:xfrm>
            <a:off x="5435789" y="3123999"/>
            <a:ext cx="468771"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Rounded Corners 73" descr="Ready&#10;Azure setup guide&#10;First landing zone&#10;Expand the landing zone&#10;Best practice validation">
            <a:extLst>
              <a:ext uri="{FF2B5EF4-FFF2-40B4-BE49-F238E27FC236}">
                <a16:creationId xmlns:a16="http://schemas.microsoft.com/office/drawing/2014/main" id="{9052B9A6-F550-4FD4-B4B1-3D5F1617A22A}"/>
              </a:ext>
              <a:ext uri="{C183D7F6-B498-43B3-948B-1728B52AA6E4}">
                <adec:decorative xmlns:adec="http://schemas.microsoft.com/office/drawing/2017/decorative" val="0"/>
              </a:ext>
            </a:extLst>
          </p:cNvPr>
          <p:cNvSpPr/>
          <p:nvPr/>
        </p:nvSpPr>
        <p:spPr>
          <a:xfrm>
            <a:off x="5898093" y="1891631"/>
            <a:ext cx="2279799" cy="2464740"/>
          </a:xfrm>
          <a:prstGeom prst="rect">
            <a:avLst/>
          </a:prstGeom>
          <a:solidFill>
            <a:srgbClr val="EBEBEB"/>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Best practice validation</a:t>
            </a:r>
          </a:p>
        </p:txBody>
      </p:sp>
      <p:cxnSp>
        <p:nvCxnSpPr>
          <p:cNvPr id="72" name="Straight Arrow Connector 71">
            <a:extLst>
              <a:ext uri="{FF2B5EF4-FFF2-40B4-BE49-F238E27FC236}">
                <a16:creationId xmlns:a16="http://schemas.microsoft.com/office/drawing/2014/main" id="{1306C960-4EE9-4AF3-9D93-B16C8F0CB351}"/>
              </a:ext>
              <a:ext uri="{C183D7F6-B498-43B3-948B-1728B52AA6E4}">
                <adec:decorative xmlns:adec="http://schemas.microsoft.com/office/drawing/2017/decorative" val="1"/>
              </a:ext>
            </a:extLst>
          </p:cNvPr>
          <p:cNvCxnSpPr>
            <a:cxnSpLocks/>
          </p:cNvCxnSpPr>
          <p:nvPr/>
        </p:nvCxnSpPr>
        <p:spPr>
          <a:xfrm flipV="1">
            <a:off x="8177892" y="2921310"/>
            <a:ext cx="457135" cy="202691"/>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AFD17AE-D9CF-489D-A98F-732CFDD37A47}"/>
              </a:ext>
              <a:ext uri="{C183D7F6-B498-43B3-948B-1728B52AA6E4}">
                <adec:decorative xmlns:adec="http://schemas.microsoft.com/office/drawing/2017/decorative" val="1"/>
              </a:ext>
            </a:extLst>
          </p:cNvPr>
          <p:cNvCxnSpPr>
            <a:cxnSpLocks/>
          </p:cNvCxnSpPr>
          <p:nvPr/>
        </p:nvCxnSpPr>
        <p:spPr>
          <a:xfrm>
            <a:off x="8177892" y="3124002"/>
            <a:ext cx="457135" cy="295738"/>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Rounded Corners 72" descr="Adopt&#10;Migrate&#10;First workload migration&#10;Expanded scenarios&#10;Best practice validation&#10;Process improvements&#10;Innovate&#10;Innovation guide&#10;Expanded scenarios&#10;Best practice validation&#10;Process improvements&#10;">
            <a:extLst>
              <a:ext uri="{FF2B5EF4-FFF2-40B4-BE49-F238E27FC236}">
                <a16:creationId xmlns:a16="http://schemas.microsoft.com/office/drawing/2014/main" id="{75FF3E05-0E6D-4B96-B89B-1AF133C23C40}"/>
              </a:ext>
              <a:ext uri="{C183D7F6-B498-43B3-948B-1728B52AA6E4}">
                <adec:decorative xmlns:adec="http://schemas.microsoft.com/office/drawing/2017/decorative" val="0"/>
              </a:ext>
            </a:extLst>
          </p:cNvPr>
          <p:cNvSpPr/>
          <p:nvPr/>
        </p:nvSpPr>
        <p:spPr>
          <a:xfrm>
            <a:off x="8633753"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Adop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Migrate</a:t>
            </a:r>
            <a:b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First workload migr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Innovate</a:t>
            </a:r>
            <a:b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novation guide</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p:txBody>
      </p:sp>
      <p:sp>
        <p:nvSpPr>
          <p:cNvPr id="59" name="Rectangle: Rounded Corners 85" descr="Box spanning Govern and Manage">
            <a:extLst>
              <a:ext uri="{FF2B5EF4-FFF2-40B4-BE49-F238E27FC236}">
                <a16:creationId xmlns:a16="http://schemas.microsoft.com/office/drawing/2014/main" id="{52F4BCC8-4517-42D2-B481-CD21E37B6D05}"/>
              </a:ext>
              <a:ext uri="{C183D7F6-B498-43B3-948B-1728B52AA6E4}">
                <adec:decorative xmlns:adec="http://schemas.microsoft.com/office/drawing/2017/decorative" val="0"/>
              </a:ext>
            </a:extLst>
          </p:cNvPr>
          <p:cNvSpPr/>
          <p:nvPr/>
        </p:nvSpPr>
        <p:spPr>
          <a:xfrm>
            <a:off x="4341687" y="4780260"/>
            <a:ext cx="5429893" cy="1898327"/>
          </a:xfrm>
          <a:prstGeom prst="roundRect">
            <a:avLst>
              <a:gd name="adj" fmla="val 0"/>
            </a:avLst>
          </a:prstGeom>
          <a:solidFill>
            <a:schemeClr val="bg1"/>
          </a:solid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2899535" y="1528830"/>
            <a:ext cx="8326908" cy="3128448"/>
          </a:xfrm>
          <a:prstGeom prst="roundRect">
            <a:avLst>
              <a:gd name="adj" fmla="val 0"/>
            </a:avLst>
          </a:prstGeom>
          <a:no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01251BC2-BBE6-4D6F-A0FB-7B15EBD24C40}"/>
              </a:ext>
              <a:ext uri="{C183D7F6-B498-43B3-948B-1728B52AA6E4}">
                <adec:decorative xmlns:adec="http://schemas.microsoft.com/office/drawing/2017/decorative" val="1"/>
              </a:ext>
            </a:extLst>
          </p:cNvPr>
          <p:cNvCxnSpPr>
            <a:cxnSpLocks/>
          </p:cNvCxnSpPr>
          <p:nvPr/>
        </p:nvCxnSpPr>
        <p:spPr>
          <a:xfrm>
            <a:off x="2698767" y="5723651"/>
            <a:ext cx="8160275" cy="0"/>
          </a:xfrm>
          <a:prstGeom prst="straightConnector1">
            <a:avLst/>
          </a:prstGeom>
          <a:ln w="28575">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Rectangle: Rounded Corners 89" descr="Govern&#10;Methodology&#10;Benchmark initial best practice&#10;Governance maturity&#10;">
            <a:extLst>
              <a:ext uri="{FF2B5EF4-FFF2-40B4-BE49-F238E27FC236}">
                <a16:creationId xmlns:a16="http://schemas.microsoft.com/office/drawing/2014/main" id="{EA773F6A-46ED-4788-9B25-722D327F3D60}"/>
              </a:ext>
              <a:ext uri="{C183D7F6-B498-43B3-948B-1728B52AA6E4}">
                <adec:decorative xmlns:adec="http://schemas.microsoft.com/office/drawing/2017/decorative" val="0"/>
              </a:ext>
            </a:extLst>
          </p:cNvPr>
          <p:cNvSpPr/>
          <p:nvPr/>
        </p:nvSpPr>
        <p:spPr>
          <a:xfrm>
            <a:off x="4593004" y="503682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Govern</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nchmark initial best practice</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Governance maturity</a:t>
            </a:r>
          </a:p>
        </p:txBody>
      </p:sp>
      <p:sp>
        <p:nvSpPr>
          <p:cNvPr id="74" name="Rectangle: Rounded Corners 31" descr="Manage&#10;Business commitments&#10;Operations baseline&#10;Operations maturity">
            <a:extLst>
              <a:ext uri="{FF2B5EF4-FFF2-40B4-BE49-F238E27FC236}">
                <a16:creationId xmlns:a16="http://schemas.microsoft.com/office/drawing/2014/main" id="{27B4F357-5C8B-4DD4-834C-F7C87E034D6B}"/>
              </a:ext>
              <a:ext uri="{C183D7F6-B498-43B3-948B-1728B52AA6E4}">
                <adec:decorative xmlns:adec="http://schemas.microsoft.com/office/drawing/2017/decorative" val="0"/>
              </a:ext>
            </a:extLst>
          </p:cNvPr>
          <p:cNvSpPr/>
          <p:nvPr/>
        </p:nvSpPr>
        <p:spPr>
          <a:xfrm>
            <a:off x="7210941" y="505238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Manag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maturity</a:t>
            </a:r>
          </a:p>
        </p:txBody>
      </p:sp>
      <p:sp>
        <p:nvSpPr>
          <p:cNvPr id="144" name="Oval 143">
            <a:extLst>
              <a:ext uri="{FF2B5EF4-FFF2-40B4-BE49-F238E27FC236}">
                <a16:creationId xmlns:a16="http://schemas.microsoft.com/office/drawing/2014/main" id="{3CE9D0C8-400C-4E4B-BC67-6D012FFC0ECD}"/>
              </a:ext>
              <a:ext uri="{C183D7F6-B498-43B3-948B-1728B52AA6E4}">
                <adec:decorative xmlns:adec="http://schemas.microsoft.com/office/drawing/2017/decorative" val="1"/>
              </a:ext>
            </a:extLst>
          </p:cNvPr>
          <p:cNvSpPr/>
          <p:nvPr/>
        </p:nvSpPr>
        <p:spPr bwMode="auto">
          <a:xfrm>
            <a:off x="8886800"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FFFBD697-7F6A-4F87-8D99-96B900ADD003}"/>
              </a:ext>
              <a:ext uri="{C183D7F6-B498-43B3-948B-1728B52AA6E4}">
                <adec:decorative xmlns:adec="http://schemas.microsoft.com/office/drawing/2017/decorative" val="1"/>
              </a:ext>
            </a:extLst>
          </p:cNvPr>
          <p:cNvGrpSpPr/>
          <p:nvPr/>
        </p:nvGrpSpPr>
        <p:grpSpPr>
          <a:xfrm>
            <a:off x="9111572" y="5068030"/>
            <a:ext cx="388802" cy="388794"/>
            <a:chOff x="4486289" y="2163470"/>
            <a:chExt cx="406192" cy="406193"/>
          </a:xfrm>
        </p:grpSpPr>
        <p:sp>
          <p:nvSpPr>
            <p:cNvPr id="67" name="Rectangle 251">
              <a:extLst>
                <a:ext uri="{FF2B5EF4-FFF2-40B4-BE49-F238E27FC236}">
                  <a16:creationId xmlns:a16="http://schemas.microsoft.com/office/drawing/2014/main" id="{537ED1AC-A734-483F-BDD1-EFBA568CB3FE}"/>
                </a:ext>
              </a:extLst>
            </p:cNvPr>
            <p:cNvSpPr>
              <a:spLocks noChangeArrowheads="1"/>
            </p:cNvSpPr>
            <p:nvPr/>
          </p:nvSpPr>
          <p:spPr bwMode="auto">
            <a:xfrm>
              <a:off x="4486289" y="2163470"/>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252">
              <a:extLst>
                <a:ext uri="{FF2B5EF4-FFF2-40B4-BE49-F238E27FC236}">
                  <a16:creationId xmlns:a16="http://schemas.microsoft.com/office/drawing/2014/main" id="{6236A03F-BD84-4759-B490-A60D3BD7A682}"/>
                </a:ext>
              </a:extLst>
            </p:cNvPr>
            <p:cNvSpPr>
              <a:spLocks noChangeArrowheads="1"/>
            </p:cNvSpPr>
            <p:nvPr/>
          </p:nvSpPr>
          <p:spPr bwMode="auto">
            <a:xfrm>
              <a:off x="4486289"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253">
              <a:extLst>
                <a:ext uri="{FF2B5EF4-FFF2-40B4-BE49-F238E27FC236}">
                  <a16:creationId xmlns:a16="http://schemas.microsoft.com/office/drawing/2014/main" id="{54A1003D-F067-4398-91A1-2D3C041E8172}"/>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254">
              <a:extLst>
                <a:ext uri="{FF2B5EF4-FFF2-40B4-BE49-F238E27FC236}">
                  <a16:creationId xmlns:a16="http://schemas.microsoft.com/office/drawing/2014/main" id="{6D1FF3DA-1614-4485-87B6-96E166668B10}"/>
                </a:ext>
              </a:extLst>
            </p:cNvPr>
            <p:cNvSpPr>
              <a:spLocks noChangeArrowheads="1"/>
            </p:cNvSpPr>
            <p:nvPr/>
          </p:nvSpPr>
          <p:spPr bwMode="auto">
            <a:xfrm>
              <a:off x="4729071"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255">
              <a:extLst>
                <a:ext uri="{FF2B5EF4-FFF2-40B4-BE49-F238E27FC236}">
                  <a16:creationId xmlns:a16="http://schemas.microsoft.com/office/drawing/2014/main" id="{0728C436-2536-4171-B418-10F272891842}"/>
                </a:ext>
              </a:extLst>
            </p:cNvPr>
            <p:cNvSpPr>
              <a:spLocks noChangeArrowheads="1"/>
            </p:cNvSpPr>
            <p:nvPr/>
          </p:nvSpPr>
          <p:spPr bwMode="auto">
            <a:xfrm>
              <a:off x="4486289"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256">
              <a:extLst>
                <a:ext uri="{FF2B5EF4-FFF2-40B4-BE49-F238E27FC236}">
                  <a16:creationId xmlns:a16="http://schemas.microsoft.com/office/drawing/2014/main" id="{0F71E510-4A42-4119-A07D-36197E147D0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257">
              <a:extLst>
                <a:ext uri="{FF2B5EF4-FFF2-40B4-BE49-F238E27FC236}">
                  <a16:creationId xmlns:a16="http://schemas.microsoft.com/office/drawing/2014/main" id="{6E16658C-4691-4F11-8BBC-C86A59FA6D33}"/>
                </a:ext>
              </a:extLst>
            </p:cNvPr>
            <p:cNvSpPr>
              <a:spLocks noChangeArrowheads="1"/>
            </p:cNvSpPr>
            <p:nvPr/>
          </p:nvSpPr>
          <p:spPr bwMode="auto">
            <a:xfrm>
              <a:off x="4729071"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258">
              <a:extLst>
                <a:ext uri="{FF2B5EF4-FFF2-40B4-BE49-F238E27FC236}">
                  <a16:creationId xmlns:a16="http://schemas.microsoft.com/office/drawing/2014/main" id="{3A2F2919-C236-45E2-8967-227E4DFBF330}"/>
                </a:ext>
              </a:extLst>
            </p:cNvPr>
            <p:cNvSpPr>
              <a:spLocks noChangeArrowheads="1"/>
            </p:cNvSpPr>
            <p:nvPr/>
          </p:nvSpPr>
          <p:spPr bwMode="auto">
            <a:xfrm>
              <a:off x="4486289"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59">
              <a:extLst>
                <a:ext uri="{FF2B5EF4-FFF2-40B4-BE49-F238E27FC236}">
                  <a16:creationId xmlns:a16="http://schemas.microsoft.com/office/drawing/2014/main" id="{0C136DF8-BEF1-4EC6-80B3-F049B97508EE}"/>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60">
              <a:extLst>
                <a:ext uri="{FF2B5EF4-FFF2-40B4-BE49-F238E27FC236}">
                  <a16:creationId xmlns:a16="http://schemas.microsoft.com/office/drawing/2014/main" id="{D2AB19AF-BD1A-4A95-A23B-C3F4591F95DE}"/>
                </a:ext>
              </a:extLst>
            </p:cNvPr>
            <p:cNvSpPr>
              <a:spLocks noChangeArrowheads="1"/>
            </p:cNvSpPr>
            <p:nvPr/>
          </p:nvSpPr>
          <p:spPr bwMode="auto">
            <a:xfrm>
              <a:off x="4606123" y="2345557"/>
              <a:ext cx="43576"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61">
              <a:extLst>
                <a:ext uri="{FF2B5EF4-FFF2-40B4-BE49-F238E27FC236}">
                  <a16:creationId xmlns:a16="http://schemas.microsoft.com/office/drawing/2014/main" id="{5242540B-A837-4623-9684-78A320C7208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62">
              <a:extLst>
                <a:ext uri="{FF2B5EF4-FFF2-40B4-BE49-F238E27FC236}">
                  <a16:creationId xmlns:a16="http://schemas.microsoft.com/office/drawing/2014/main" id="{6AD4D738-935C-4321-BF27-BA4C9C1D971F}"/>
                </a:ext>
              </a:extLst>
            </p:cNvPr>
            <p:cNvSpPr>
              <a:spLocks noChangeArrowheads="1"/>
            </p:cNvSpPr>
            <p:nvPr/>
          </p:nvSpPr>
          <p:spPr bwMode="auto">
            <a:xfrm>
              <a:off x="4729071"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63">
              <a:extLst>
                <a:ext uri="{FF2B5EF4-FFF2-40B4-BE49-F238E27FC236}">
                  <a16:creationId xmlns:a16="http://schemas.microsoft.com/office/drawing/2014/main" id="{5550DC4A-FF01-451A-A8C2-84A372D46284}"/>
                </a:ext>
              </a:extLst>
            </p:cNvPr>
            <p:cNvSpPr>
              <a:spLocks noChangeArrowheads="1"/>
            </p:cNvSpPr>
            <p:nvPr/>
          </p:nvSpPr>
          <p:spPr bwMode="auto">
            <a:xfrm>
              <a:off x="4486289"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64">
              <a:extLst>
                <a:ext uri="{FF2B5EF4-FFF2-40B4-BE49-F238E27FC236}">
                  <a16:creationId xmlns:a16="http://schemas.microsoft.com/office/drawing/2014/main" id="{8CFA3A59-7721-4F7E-8D0E-5DF19D7DF2F1}"/>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265">
              <a:extLst>
                <a:ext uri="{FF2B5EF4-FFF2-40B4-BE49-F238E27FC236}">
                  <a16:creationId xmlns:a16="http://schemas.microsoft.com/office/drawing/2014/main" id="{3CB03221-539A-4DC9-9979-D934D4C1F18A}"/>
                </a:ext>
              </a:extLst>
            </p:cNvPr>
            <p:cNvSpPr>
              <a:spLocks noChangeArrowheads="1"/>
            </p:cNvSpPr>
            <p:nvPr/>
          </p:nvSpPr>
          <p:spPr bwMode="auto">
            <a:xfrm>
              <a:off x="4606123" y="2406252"/>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66">
              <a:extLst>
                <a:ext uri="{FF2B5EF4-FFF2-40B4-BE49-F238E27FC236}">
                  <a16:creationId xmlns:a16="http://schemas.microsoft.com/office/drawing/2014/main" id="{E01A198E-370B-4862-90CD-7BEC490A7A12}"/>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67">
              <a:extLst>
                <a:ext uri="{FF2B5EF4-FFF2-40B4-BE49-F238E27FC236}">
                  <a16:creationId xmlns:a16="http://schemas.microsoft.com/office/drawing/2014/main" id="{C62D46E6-6D03-4064-AF2E-AEF2967E7899}"/>
                </a:ext>
              </a:extLst>
            </p:cNvPr>
            <p:cNvSpPr>
              <a:spLocks noChangeArrowheads="1"/>
            </p:cNvSpPr>
            <p:nvPr/>
          </p:nvSpPr>
          <p:spPr bwMode="auto">
            <a:xfrm>
              <a:off x="4729071"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68">
              <a:extLst>
                <a:ext uri="{FF2B5EF4-FFF2-40B4-BE49-F238E27FC236}">
                  <a16:creationId xmlns:a16="http://schemas.microsoft.com/office/drawing/2014/main" id="{40E64321-DE48-42C1-985F-25EAD5EAE6F3}"/>
                </a:ext>
              </a:extLst>
            </p:cNvPr>
            <p:cNvSpPr>
              <a:spLocks noChangeArrowheads="1"/>
            </p:cNvSpPr>
            <p:nvPr/>
          </p:nvSpPr>
          <p:spPr bwMode="auto">
            <a:xfrm>
              <a:off x="4486289"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269">
              <a:extLst>
                <a:ext uri="{FF2B5EF4-FFF2-40B4-BE49-F238E27FC236}">
                  <a16:creationId xmlns:a16="http://schemas.microsoft.com/office/drawing/2014/main" id="{9DA9C9F3-E3FD-418C-87A4-B1B9BA112111}"/>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270">
              <a:extLst>
                <a:ext uri="{FF2B5EF4-FFF2-40B4-BE49-F238E27FC236}">
                  <a16:creationId xmlns:a16="http://schemas.microsoft.com/office/drawing/2014/main" id="{938A2A69-F1BD-4565-A6B9-7486A483CF89}"/>
                </a:ext>
              </a:extLst>
            </p:cNvPr>
            <p:cNvSpPr>
              <a:spLocks noChangeArrowheads="1"/>
            </p:cNvSpPr>
            <p:nvPr/>
          </p:nvSpPr>
          <p:spPr bwMode="auto">
            <a:xfrm>
              <a:off x="4606123"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271">
              <a:extLst>
                <a:ext uri="{FF2B5EF4-FFF2-40B4-BE49-F238E27FC236}">
                  <a16:creationId xmlns:a16="http://schemas.microsoft.com/office/drawing/2014/main" id="{8EC06620-BEDD-49C3-AF4B-5B66B3BF5665}"/>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272">
              <a:extLst>
                <a:ext uri="{FF2B5EF4-FFF2-40B4-BE49-F238E27FC236}">
                  <a16:creationId xmlns:a16="http://schemas.microsoft.com/office/drawing/2014/main" id="{9B2D1997-25D5-4842-8F7B-943A1AEB3BD5}"/>
                </a:ext>
              </a:extLst>
            </p:cNvPr>
            <p:cNvSpPr>
              <a:spLocks noChangeArrowheads="1"/>
            </p:cNvSpPr>
            <p:nvPr/>
          </p:nvSpPr>
          <p:spPr bwMode="auto">
            <a:xfrm>
              <a:off x="4729071"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273">
              <a:extLst>
                <a:ext uri="{FF2B5EF4-FFF2-40B4-BE49-F238E27FC236}">
                  <a16:creationId xmlns:a16="http://schemas.microsoft.com/office/drawing/2014/main" id="{7B885C2B-0F8D-4EE4-AA7A-1E24800CF216}"/>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274">
              <a:extLst>
                <a:ext uri="{FF2B5EF4-FFF2-40B4-BE49-F238E27FC236}">
                  <a16:creationId xmlns:a16="http://schemas.microsoft.com/office/drawing/2014/main" id="{40DB1950-775A-4A05-8BAF-C95ECE651481}"/>
                </a:ext>
              </a:extLst>
            </p:cNvPr>
            <p:cNvSpPr>
              <a:spLocks noChangeArrowheads="1"/>
            </p:cNvSpPr>
            <p:nvPr/>
          </p:nvSpPr>
          <p:spPr bwMode="auto">
            <a:xfrm>
              <a:off x="4848905"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275">
              <a:extLst>
                <a:ext uri="{FF2B5EF4-FFF2-40B4-BE49-F238E27FC236}">
                  <a16:creationId xmlns:a16="http://schemas.microsoft.com/office/drawing/2014/main" id="{80809893-DF81-4A6F-A623-16DB11795602}"/>
                </a:ext>
              </a:extLst>
            </p:cNvPr>
            <p:cNvSpPr>
              <a:spLocks noChangeArrowheads="1"/>
            </p:cNvSpPr>
            <p:nvPr/>
          </p:nvSpPr>
          <p:spPr bwMode="auto">
            <a:xfrm>
              <a:off x="4486289"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276">
              <a:extLst>
                <a:ext uri="{FF2B5EF4-FFF2-40B4-BE49-F238E27FC236}">
                  <a16:creationId xmlns:a16="http://schemas.microsoft.com/office/drawing/2014/main" id="{F09AC525-81E6-4734-B014-58BD23F82B3D}"/>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277">
              <a:extLst>
                <a:ext uri="{FF2B5EF4-FFF2-40B4-BE49-F238E27FC236}">
                  <a16:creationId xmlns:a16="http://schemas.microsoft.com/office/drawing/2014/main" id="{C359B746-7804-4B51-9154-8CAF21F2F1E7}"/>
                </a:ext>
              </a:extLst>
            </p:cNvPr>
            <p:cNvSpPr>
              <a:spLocks noChangeArrowheads="1"/>
            </p:cNvSpPr>
            <p:nvPr/>
          </p:nvSpPr>
          <p:spPr bwMode="auto">
            <a:xfrm>
              <a:off x="4606123"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278">
              <a:extLst>
                <a:ext uri="{FF2B5EF4-FFF2-40B4-BE49-F238E27FC236}">
                  <a16:creationId xmlns:a16="http://schemas.microsoft.com/office/drawing/2014/main" id="{4F461493-F12D-4A15-B29C-3F75AD9BC9A3}"/>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279">
              <a:extLst>
                <a:ext uri="{FF2B5EF4-FFF2-40B4-BE49-F238E27FC236}">
                  <a16:creationId xmlns:a16="http://schemas.microsoft.com/office/drawing/2014/main" id="{314FFD4B-B213-4B3C-A927-43320CB5DAC6}"/>
                </a:ext>
              </a:extLst>
            </p:cNvPr>
            <p:cNvSpPr>
              <a:spLocks noChangeArrowheads="1"/>
            </p:cNvSpPr>
            <p:nvPr/>
          </p:nvSpPr>
          <p:spPr bwMode="auto">
            <a:xfrm>
              <a:off x="4729071"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280">
              <a:extLst>
                <a:ext uri="{FF2B5EF4-FFF2-40B4-BE49-F238E27FC236}">
                  <a16:creationId xmlns:a16="http://schemas.microsoft.com/office/drawing/2014/main" id="{8C60029A-117C-4D70-AF2C-466BFEE32D56}"/>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ectangle 281">
              <a:extLst>
                <a:ext uri="{FF2B5EF4-FFF2-40B4-BE49-F238E27FC236}">
                  <a16:creationId xmlns:a16="http://schemas.microsoft.com/office/drawing/2014/main" id="{D87F1C53-F975-43FE-9AB6-448E01261870}"/>
                </a:ext>
              </a:extLst>
            </p:cNvPr>
            <p:cNvSpPr>
              <a:spLocks noChangeArrowheads="1"/>
            </p:cNvSpPr>
            <p:nvPr/>
          </p:nvSpPr>
          <p:spPr bwMode="auto">
            <a:xfrm>
              <a:off x="4848905"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5" name="Oval 144">
            <a:extLst>
              <a:ext uri="{FF2B5EF4-FFF2-40B4-BE49-F238E27FC236}">
                <a16:creationId xmlns:a16="http://schemas.microsoft.com/office/drawing/2014/main" id="{4273F9D6-96F1-4169-AFFF-D85A734014D8}"/>
              </a:ext>
              <a:ext uri="{C183D7F6-B498-43B3-948B-1728B52AA6E4}">
                <adec:decorative xmlns:adec="http://schemas.microsoft.com/office/drawing/2017/decorative" val="1"/>
              </a:ext>
            </a:extLst>
          </p:cNvPr>
          <p:cNvSpPr/>
          <p:nvPr/>
        </p:nvSpPr>
        <p:spPr bwMode="auto">
          <a:xfrm>
            <a:off x="6271229"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D0790F9F-0AAE-4366-A831-25862955F1CB}"/>
              </a:ext>
              <a:ext uri="{C183D7F6-B498-43B3-948B-1728B52AA6E4}">
                <adec:decorative xmlns:adec="http://schemas.microsoft.com/office/drawing/2017/decorative" val="1"/>
              </a:ext>
            </a:extLst>
          </p:cNvPr>
          <p:cNvGrpSpPr/>
          <p:nvPr/>
        </p:nvGrpSpPr>
        <p:grpSpPr>
          <a:xfrm>
            <a:off x="6449551" y="5005953"/>
            <a:ext cx="439637" cy="447995"/>
            <a:chOff x="5845334" y="4295775"/>
            <a:chExt cx="584835" cy="595951"/>
          </a:xfrm>
        </p:grpSpPr>
        <p:sp>
          <p:nvSpPr>
            <p:cNvPr id="64" name="Freeform 5">
              <a:extLst>
                <a:ext uri="{FF2B5EF4-FFF2-40B4-BE49-F238E27FC236}">
                  <a16:creationId xmlns:a16="http://schemas.microsoft.com/office/drawing/2014/main" id="{0A7AAA20-74B2-4A08-AD0F-EB715CD9DD49}"/>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tx2"/>
            </a:solidFill>
            <a:ln>
              <a:noFill/>
            </a:ln>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8EE40D-D937-4000-B10E-34D3844BD0CB}"/>
                </a:ext>
              </a:extLst>
            </p:cNvPr>
            <p:cNvSpPr/>
            <p:nvPr/>
          </p:nvSpPr>
          <p:spPr bwMode="auto">
            <a:xfrm>
              <a:off x="6128700" y="4295775"/>
              <a:ext cx="107156" cy="642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2" tIns="143385" rIns="179232" bIns="143385" numCol="1" spcCol="0" rtlCol="0" fromWordArt="0" anchor="t" anchorCtr="0" forceAA="0" compatLnSpc="1">
              <a:prstTxWarp prst="textNoShape">
                <a:avLst/>
              </a:prstTxWarp>
              <a:noAutofit/>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6" name="TextBox 145">
            <a:extLst>
              <a:ext uri="{FF2B5EF4-FFF2-40B4-BE49-F238E27FC236}">
                <a16:creationId xmlns:a16="http://schemas.microsoft.com/office/drawing/2014/main" id="{80CD16DB-B0C3-4757-B2C2-B19BD2EE6B8A}"/>
              </a:ext>
            </a:extLst>
          </p:cNvPr>
          <p:cNvSpPr txBox="1"/>
          <p:nvPr/>
        </p:nvSpPr>
        <p:spPr>
          <a:xfrm>
            <a:off x="240799" y="6235514"/>
            <a:ext cx="3256571" cy="48929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a:ea typeface="+mn-ea"/>
                <a:cs typeface="+mn-cs"/>
                <a:hlinkClick r:id="rId3"/>
              </a:rPr>
              <a:t>https://aka.ms/adopt/overview</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41" name="Oval 140">
            <a:extLst>
              <a:ext uri="{FF2B5EF4-FFF2-40B4-BE49-F238E27FC236}">
                <a16:creationId xmlns:a16="http://schemas.microsoft.com/office/drawing/2014/main" id="{B41EC16D-477F-443B-B5FC-AC27FF96BC60}"/>
              </a:ext>
              <a:ext uri="{C183D7F6-B498-43B3-948B-1728B52AA6E4}">
                <adec:decorative xmlns:adec="http://schemas.microsoft.com/office/drawing/2017/decorative" val="1"/>
              </a:ext>
            </a:extLst>
          </p:cNvPr>
          <p:cNvSpPr/>
          <p:nvPr/>
        </p:nvSpPr>
        <p:spPr bwMode="auto">
          <a:xfrm>
            <a:off x="4771881"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B9614753-A669-41BF-A6D1-6114E19BC598}"/>
              </a:ext>
              <a:ext uri="{C183D7F6-B498-43B3-948B-1728B52AA6E4}">
                <adec:decorative xmlns:adec="http://schemas.microsoft.com/office/drawing/2017/decorative" val="1"/>
              </a:ext>
            </a:extLst>
          </p:cNvPr>
          <p:cNvGrpSpPr/>
          <p:nvPr/>
        </p:nvGrpSpPr>
        <p:grpSpPr>
          <a:xfrm>
            <a:off x="4970338" y="1886922"/>
            <a:ext cx="337882" cy="418785"/>
            <a:chOff x="8018464" y="4649789"/>
            <a:chExt cx="225425" cy="279400"/>
          </a:xfrm>
        </p:grpSpPr>
        <p:sp>
          <p:nvSpPr>
            <p:cNvPr id="104" name="Freeform 88">
              <a:extLst>
                <a:ext uri="{FF2B5EF4-FFF2-40B4-BE49-F238E27FC236}">
                  <a16:creationId xmlns:a16="http://schemas.microsoft.com/office/drawing/2014/main" id="{E7FBAC20-AF99-4A0F-B3B3-39D7ABF837A3}"/>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89">
              <a:extLst>
                <a:ext uri="{FF2B5EF4-FFF2-40B4-BE49-F238E27FC236}">
                  <a16:creationId xmlns:a16="http://schemas.microsoft.com/office/drawing/2014/main" id="{EF327CF6-E67E-4429-8154-B460FCF178F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Line 90">
              <a:extLst>
                <a:ext uri="{FF2B5EF4-FFF2-40B4-BE49-F238E27FC236}">
                  <a16:creationId xmlns:a16="http://schemas.microsoft.com/office/drawing/2014/main" id="{28946733-D168-48AC-8197-9774AD5E65FF}"/>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Line 91">
              <a:extLst>
                <a:ext uri="{FF2B5EF4-FFF2-40B4-BE49-F238E27FC236}">
                  <a16:creationId xmlns:a16="http://schemas.microsoft.com/office/drawing/2014/main" id="{7210F7F9-A798-40CB-886D-A4E0BE6E48A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2" name="Oval 141">
            <a:extLst>
              <a:ext uri="{FF2B5EF4-FFF2-40B4-BE49-F238E27FC236}">
                <a16:creationId xmlns:a16="http://schemas.microsoft.com/office/drawing/2014/main" id="{D9E4728F-6FAE-4257-82F5-E283B9B3D532}"/>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EBEBEB"/>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52">
            <a:extLst>
              <a:ext uri="{FF2B5EF4-FFF2-40B4-BE49-F238E27FC236}">
                <a16:creationId xmlns:a16="http://schemas.microsoft.com/office/drawing/2014/main" id="{7D0ED906-0635-4AD9-9B4C-2E964C664696}"/>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09" name="AutoShape 151">
              <a:extLst>
                <a:ext uri="{FF2B5EF4-FFF2-40B4-BE49-F238E27FC236}">
                  <a16:creationId xmlns:a16="http://schemas.microsoft.com/office/drawing/2014/main" id="{119C01C1-3934-4B20-8A56-9DC5E5BAAAE7}"/>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Oval 153">
              <a:extLst>
                <a:ext uri="{FF2B5EF4-FFF2-40B4-BE49-F238E27FC236}">
                  <a16:creationId xmlns:a16="http://schemas.microsoft.com/office/drawing/2014/main" id="{E8FC8EA9-4090-4A24-8B4F-2082BA82AC6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54">
              <a:extLst>
                <a:ext uri="{FF2B5EF4-FFF2-40B4-BE49-F238E27FC236}">
                  <a16:creationId xmlns:a16="http://schemas.microsoft.com/office/drawing/2014/main" id="{2D93A3E5-0FD0-4C78-9B47-23DB99EC8471}"/>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55">
              <a:extLst>
                <a:ext uri="{FF2B5EF4-FFF2-40B4-BE49-F238E27FC236}">
                  <a16:creationId xmlns:a16="http://schemas.microsoft.com/office/drawing/2014/main" id="{E6A31A5E-E6B3-417D-814A-42BBA0D739EF}"/>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56">
              <a:extLst>
                <a:ext uri="{FF2B5EF4-FFF2-40B4-BE49-F238E27FC236}">
                  <a16:creationId xmlns:a16="http://schemas.microsoft.com/office/drawing/2014/main" id="{D9102453-93C9-46DE-85A0-5B34883B7856}"/>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57">
              <a:extLst>
                <a:ext uri="{FF2B5EF4-FFF2-40B4-BE49-F238E27FC236}">
                  <a16:creationId xmlns:a16="http://schemas.microsoft.com/office/drawing/2014/main" id="{508CA318-370D-4972-9DA7-3CB25FEE69F1}"/>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58">
              <a:extLst>
                <a:ext uri="{FF2B5EF4-FFF2-40B4-BE49-F238E27FC236}">
                  <a16:creationId xmlns:a16="http://schemas.microsoft.com/office/drawing/2014/main" id="{096047E3-950F-4638-AF6D-BD5E0C58636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59">
              <a:extLst>
                <a:ext uri="{FF2B5EF4-FFF2-40B4-BE49-F238E27FC236}">
                  <a16:creationId xmlns:a16="http://schemas.microsoft.com/office/drawing/2014/main" id="{D1BC866D-9297-467F-9135-59C69C41D8A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160">
              <a:extLst>
                <a:ext uri="{FF2B5EF4-FFF2-40B4-BE49-F238E27FC236}">
                  <a16:creationId xmlns:a16="http://schemas.microsoft.com/office/drawing/2014/main" id="{2D6EE010-0A0B-4828-9921-ADD4AFE7A1BE}"/>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161">
              <a:extLst>
                <a:ext uri="{FF2B5EF4-FFF2-40B4-BE49-F238E27FC236}">
                  <a16:creationId xmlns:a16="http://schemas.microsoft.com/office/drawing/2014/main" id="{D28A72B6-DD6B-4BF5-9CC5-008B0F234BC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162">
              <a:extLst>
                <a:ext uri="{FF2B5EF4-FFF2-40B4-BE49-F238E27FC236}">
                  <a16:creationId xmlns:a16="http://schemas.microsoft.com/office/drawing/2014/main" id="{75E89724-1657-4DF0-9BAF-F1355CD95806}"/>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7" name="Rectangle: Rounded Corners 73">
            <a:extLst>
              <a:ext uri="{FF2B5EF4-FFF2-40B4-BE49-F238E27FC236}">
                <a16:creationId xmlns:a16="http://schemas.microsoft.com/office/drawing/2014/main" id="{332F6808-5179-429F-8477-8C6798E7F383}"/>
              </a:ext>
              <a:ext uri="{C183D7F6-B498-43B3-948B-1728B52AA6E4}">
                <adec:decorative xmlns:adec="http://schemas.microsoft.com/office/drawing/2017/decorative" val="1"/>
              </a:ext>
            </a:extLst>
          </p:cNvPr>
          <p:cNvSpPr/>
          <p:nvPr/>
        </p:nvSpPr>
        <p:spPr>
          <a:xfrm>
            <a:off x="5898093" y="1891631"/>
            <a:ext cx="2279799" cy="2464740"/>
          </a:xfrm>
          <a:prstGeom prst="rect">
            <a:avLst/>
          </a:prstGeom>
          <a:solidFill>
            <a:srgbClr val="3C3C4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148" name="Oval 147">
            <a:extLst>
              <a:ext uri="{FF2B5EF4-FFF2-40B4-BE49-F238E27FC236}">
                <a16:creationId xmlns:a16="http://schemas.microsoft.com/office/drawing/2014/main" id="{AA0FB972-11E9-42FF-A0BD-DBE51305BE83}"/>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3C3C4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9" name="Group 152">
            <a:extLst>
              <a:ext uri="{FF2B5EF4-FFF2-40B4-BE49-F238E27FC236}">
                <a16:creationId xmlns:a16="http://schemas.microsoft.com/office/drawing/2014/main" id="{B9C57D4B-3587-4010-86B4-143E47947D3D}"/>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50" name="AutoShape 151">
              <a:extLst>
                <a:ext uri="{FF2B5EF4-FFF2-40B4-BE49-F238E27FC236}">
                  <a16:creationId xmlns:a16="http://schemas.microsoft.com/office/drawing/2014/main" id="{4601E823-2074-455E-8EBD-9F707008FBBC}"/>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Oval 153">
              <a:extLst>
                <a:ext uri="{FF2B5EF4-FFF2-40B4-BE49-F238E27FC236}">
                  <a16:creationId xmlns:a16="http://schemas.microsoft.com/office/drawing/2014/main" id="{E7F1EB6E-4928-4B92-A8B4-5964D9C872C6}"/>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154">
              <a:extLst>
                <a:ext uri="{FF2B5EF4-FFF2-40B4-BE49-F238E27FC236}">
                  <a16:creationId xmlns:a16="http://schemas.microsoft.com/office/drawing/2014/main" id="{09CFCFDB-9C6E-4AFE-8CA5-7840F96D7FD6}"/>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155">
              <a:extLst>
                <a:ext uri="{FF2B5EF4-FFF2-40B4-BE49-F238E27FC236}">
                  <a16:creationId xmlns:a16="http://schemas.microsoft.com/office/drawing/2014/main" id="{204380B6-806C-40BA-82E1-96915E4FFE4B}"/>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156">
              <a:extLst>
                <a:ext uri="{FF2B5EF4-FFF2-40B4-BE49-F238E27FC236}">
                  <a16:creationId xmlns:a16="http://schemas.microsoft.com/office/drawing/2014/main" id="{8BB37222-9E7D-45D7-AE53-2E085DCDCF8A}"/>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157">
              <a:extLst>
                <a:ext uri="{FF2B5EF4-FFF2-40B4-BE49-F238E27FC236}">
                  <a16:creationId xmlns:a16="http://schemas.microsoft.com/office/drawing/2014/main" id="{413B4432-199B-41A6-BB3D-A7471E7836A6}"/>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58">
              <a:extLst>
                <a:ext uri="{FF2B5EF4-FFF2-40B4-BE49-F238E27FC236}">
                  <a16:creationId xmlns:a16="http://schemas.microsoft.com/office/drawing/2014/main" id="{0D195E21-A60D-4925-BC38-0D65BEC7C58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159">
              <a:extLst>
                <a:ext uri="{FF2B5EF4-FFF2-40B4-BE49-F238E27FC236}">
                  <a16:creationId xmlns:a16="http://schemas.microsoft.com/office/drawing/2014/main" id="{5A9EEA8C-EB31-42A1-990A-04C492AE3F75}"/>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160">
              <a:extLst>
                <a:ext uri="{FF2B5EF4-FFF2-40B4-BE49-F238E27FC236}">
                  <a16:creationId xmlns:a16="http://schemas.microsoft.com/office/drawing/2014/main" id="{EB698A22-CE5C-4932-B0E6-9A4C7BBEC713}"/>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161">
              <a:extLst>
                <a:ext uri="{FF2B5EF4-FFF2-40B4-BE49-F238E27FC236}">
                  <a16:creationId xmlns:a16="http://schemas.microsoft.com/office/drawing/2014/main" id="{D46026E4-7F53-4D18-8800-E1F2ED2F949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162">
              <a:extLst>
                <a:ext uri="{FF2B5EF4-FFF2-40B4-BE49-F238E27FC236}">
                  <a16:creationId xmlns:a16="http://schemas.microsoft.com/office/drawing/2014/main" id="{94F7E964-77C0-4A02-A8B0-07AF264D1975}"/>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Oval 142">
            <a:extLst>
              <a:ext uri="{FF2B5EF4-FFF2-40B4-BE49-F238E27FC236}">
                <a16:creationId xmlns:a16="http://schemas.microsoft.com/office/drawing/2014/main" id="{DA257EC2-3B34-4971-9214-8F696CBCC620}"/>
              </a:ext>
              <a:ext uri="{C183D7F6-B498-43B3-948B-1728B52AA6E4}">
                <adec:decorative xmlns:adec="http://schemas.microsoft.com/office/drawing/2017/decorative" val="1"/>
              </a:ext>
            </a:extLst>
          </p:cNvPr>
          <p:cNvSpPr/>
          <p:nvPr/>
        </p:nvSpPr>
        <p:spPr bwMode="auto">
          <a:xfrm>
            <a:off x="10294524"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aphic 397">
            <a:extLst>
              <a:ext uri="{FF2B5EF4-FFF2-40B4-BE49-F238E27FC236}">
                <a16:creationId xmlns:a16="http://schemas.microsoft.com/office/drawing/2014/main" id="{339CB6D6-8B65-4E27-977D-D715E5375C79}"/>
              </a:ext>
              <a:ext uri="{C183D7F6-B498-43B3-948B-1728B52AA6E4}">
                <adec:decorative xmlns:adec="http://schemas.microsoft.com/office/drawing/2017/decorative" val="1"/>
              </a:ext>
            </a:extLst>
          </p:cNvPr>
          <p:cNvGrpSpPr/>
          <p:nvPr/>
        </p:nvGrpSpPr>
        <p:grpSpPr>
          <a:xfrm>
            <a:off x="10506526" y="1880977"/>
            <a:ext cx="406517" cy="424729"/>
            <a:chOff x="1698211" y="3041569"/>
            <a:chExt cx="417847" cy="418136"/>
          </a:xfrm>
        </p:grpSpPr>
        <p:sp>
          <p:nvSpPr>
            <p:cNvPr id="121" name="Freeform: Shape 120">
              <a:extLst>
                <a:ext uri="{FF2B5EF4-FFF2-40B4-BE49-F238E27FC236}">
                  <a16:creationId xmlns:a16="http://schemas.microsoft.com/office/drawing/2014/main" id="{AF4C8A5D-D416-413E-B0FB-3AC01EF9C39B}"/>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chemeClr val="accent5"/>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B8B463E-5838-4496-A8D7-0D2B51CC51E3}"/>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8144E74-F69E-4AC1-8A7D-3F206B28041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Oval 1">
            <a:extLst>
              <a:ext uri="{FF2B5EF4-FFF2-40B4-BE49-F238E27FC236}">
                <a16:creationId xmlns:a16="http://schemas.microsoft.com/office/drawing/2014/main" id="{D7A7C53D-C368-4B07-89AE-B42AE0896C79}"/>
              </a:ext>
              <a:ext uri="{C183D7F6-B498-43B3-948B-1728B52AA6E4}">
                <adec:decorative xmlns:adec="http://schemas.microsoft.com/office/drawing/2017/decorative" val="1"/>
              </a:ext>
            </a:extLst>
          </p:cNvPr>
          <p:cNvSpPr/>
          <p:nvPr/>
        </p:nvSpPr>
        <p:spPr bwMode="auto">
          <a:xfrm>
            <a:off x="2010558"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73C3AF98-3C5A-452B-A475-8B8DCE04C639}"/>
              </a:ext>
              <a:ext uri="{C183D7F6-B498-43B3-948B-1728B52AA6E4}">
                <adec:decorative xmlns:adec="http://schemas.microsoft.com/office/drawing/2017/decorative" val="1"/>
              </a:ext>
            </a:extLst>
          </p:cNvPr>
          <p:cNvGrpSpPr/>
          <p:nvPr/>
        </p:nvGrpSpPr>
        <p:grpSpPr>
          <a:xfrm>
            <a:off x="2102865" y="1910260"/>
            <a:ext cx="539391" cy="378298"/>
            <a:chOff x="14373741" y="5761210"/>
            <a:chExt cx="463775" cy="325266"/>
          </a:xfrm>
        </p:grpSpPr>
        <p:sp>
          <p:nvSpPr>
            <p:cNvPr id="125" name="Rectangle 932">
              <a:extLst>
                <a:ext uri="{FF2B5EF4-FFF2-40B4-BE49-F238E27FC236}">
                  <a16:creationId xmlns:a16="http://schemas.microsoft.com/office/drawing/2014/main" id="{D4969E8C-2783-49C8-A600-5CF706B395A7}"/>
                </a:ext>
              </a:extLst>
            </p:cNvPr>
            <p:cNvSpPr>
              <a:spLocks noChangeArrowheads="1"/>
            </p:cNvSpPr>
            <p:nvPr/>
          </p:nvSpPr>
          <p:spPr bwMode="auto">
            <a:xfrm>
              <a:off x="14605629" y="6035118"/>
              <a:ext cx="115166" cy="124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933">
              <a:extLst>
                <a:ext uri="{FF2B5EF4-FFF2-40B4-BE49-F238E27FC236}">
                  <a16:creationId xmlns:a16="http://schemas.microsoft.com/office/drawing/2014/main" id="{2CA3EBED-534F-404E-A705-FAE1B0B6929C}"/>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934">
              <a:extLst>
                <a:ext uri="{FF2B5EF4-FFF2-40B4-BE49-F238E27FC236}">
                  <a16:creationId xmlns:a16="http://schemas.microsoft.com/office/drawing/2014/main" id="{FFC1F8D5-5860-4AF3-B4A1-7C81AB0B2D1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8" name="Rectangle 935">
              <a:extLst>
                <a:ext uri="{FF2B5EF4-FFF2-40B4-BE49-F238E27FC236}">
                  <a16:creationId xmlns:a16="http://schemas.microsoft.com/office/drawing/2014/main" id="{B52CBD84-3D06-496C-A1D2-B8C6481D28BB}"/>
                </a:ext>
              </a:extLst>
            </p:cNvPr>
            <p:cNvSpPr>
              <a:spLocks noChangeArrowheads="1"/>
            </p:cNvSpPr>
            <p:nvPr/>
          </p:nvSpPr>
          <p:spPr bwMode="auto">
            <a:xfrm>
              <a:off x="14783046" y="5809455"/>
              <a:ext cx="12450" cy="2490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936">
              <a:extLst>
                <a:ext uri="{FF2B5EF4-FFF2-40B4-BE49-F238E27FC236}">
                  <a16:creationId xmlns:a16="http://schemas.microsoft.com/office/drawing/2014/main" id="{DCD8038D-25CD-4B05-BB3D-DDEF5ACD596A}"/>
                </a:ext>
              </a:extLst>
            </p:cNvPr>
            <p:cNvSpPr>
              <a:spLocks noChangeArrowheads="1"/>
            </p:cNvSpPr>
            <p:nvPr/>
          </p:nvSpPr>
          <p:spPr bwMode="auto">
            <a:xfrm>
              <a:off x="14624304" y="5919952"/>
              <a:ext cx="99603"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EBF9195A-DF30-459E-A4E7-475AD59060A2}"/>
                </a:ext>
              </a:extLst>
            </p:cNvPr>
            <p:cNvSpPr>
              <a:spLocks noChangeArrowheads="1"/>
            </p:cNvSpPr>
            <p:nvPr/>
          </p:nvSpPr>
          <p:spPr bwMode="auto">
            <a:xfrm>
              <a:off x="14431324" y="5919952"/>
              <a:ext cx="102715"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BD51D752-6DA4-42A7-9AD6-196A2251A918}"/>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AC499B71-C4CA-4DFE-B209-8CE636EE42F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940">
              <a:extLst>
                <a:ext uri="{FF2B5EF4-FFF2-40B4-BE49-F238E27FC236}">
                  <a16:creationId xmlns:a16="http://schemas.microsoft.com/office/drawing/2014/main" id="{86BABC6B-51B6-49ED-8386-62F489D3C70B}"/>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941">
              <a:extLst>
                <a:ext uri="{FF2B5EF4-FFF2-40B4-BE49-F238E27FC236}">
                  <a16:creationId xmlns:a16="http://schemas.microsoft.com/office/drawing/2014/main" id="{3ABD8375-EAEB-40D9-AB0B-735ED53253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942">
              <a:extLst>
                <a:ext uri="{FF2B5EF4-FFF2-40B4-BE49-F238E27FC236}">
                  <a16:creationId xmlns:a16="http://schemas.microsoft.com/office/drawing/2014/main" id="{05B2F849-E1D5-4F6B-BA1E-9017A5F438F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943">
              <a:extLst>
                <a:ext uri="{FF2B5EF4-FFF2-40B4-BE49-F238E27FC236}">
                  <a16:creationId xmlns:a16="http://schemas.microsoft.com/office/drawing/2014/main" id="{2BBD3A9A-141D-4FF3-B299-14089E98A927}"/>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944" descr="component solutions">
              <a:extLst>
                <a:ext uri="{FF2B5EF4-FFF2-40B4-BE49-F238E27FC236}">
                  <a16:creationId xmlns:a16="http://schemas.microsoft.com/office/drawing/2014/main" id="{AA0758CC-D727-4C6A-8621-2968D3E794E3}"/>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45">
              <a:extLst>
                <a:ext uri="{FF2B5EF4-FFF2-40B4-BE49-F238E27FC236}">
                  <a16:creationId xmlns:a16="http://schemas.microsoft.com/office/drawing/2014/main" id="{279DB8EA-6EA8-490A-B122-7021F672940D}"/>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46">
              <a:extLst>
                <a:ext uri="{FF2B5EF4-FFF2-40B4-BE49-F238E27FC236}">
                  <a16:creationId xmlns:a16="http://schemas.microsoft.com/office/drawing/2014/main" id="{D3AE8E94-9B5B-4AEA-B9FC-9F9BC623AD9A}"/>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47">
              <a:extLst>
                <a:ext uri="{FF2B5EF4-FFF2-40B4-BE49-F238E27FC236}">
                  <a16:creationId xmlns:a16="http://schemas.microsoft.com/office/drawing/2014/main" id="{1AF6780C-D341-46AA-8D61-12B62AEF3F0F}"/>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0149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wipe(left)">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0"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500"/>
                                        <p:tgtEl>
                                          <p:spTgt spid="10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wipe(left)">
                                      <p:cBhvr>
                                        <p:cTn id="31" dur="500"/>
                                        <p:tgtEl>
                                          <p:spTgt spid="7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2"/>
                                        </p:tgtEl>
                                        <p:attrNameLst>
                                          <p:attrName>style.visibility</p:attrName>
                                        </p:attrNameLst>
                                      </p:cBhvr>
                                      <p:to>
                                        <p:strVal val="visible"/>
                                      </p:to>
                                    </p:set>
                                    <p:animEffect transition="in" filter="fade">
                                      <p:cBhvr>
                                        <p:cTn id="38" dur="500"/>
                                        <p:tgtEl>
                                          <p:spTgt spid="14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ipe(left)">
                                      <p:cBhvr>
                                        <p:cTn id="45" dur="500"/>
                                        <p:tgtEl>
                                          <p:spTgt spid="72"/>
                                        </p:tgtEl>
                                      </p:cBhvr>
                                    </p:animEffect>
                                  </p:childTnLst>
                                </p:cTn>
                              </p:par>
                              <p:par>
                                <p:cTn id="46" presetID="22" presetClass="entr" presetSubtype="8"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wipe(left)">
                                      <p:cBhvr>
                                        <p:cTn id="48" dur="500"/>
                                        <p:tgtEl>
                                          <p:spTgt spid="73"/>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par>
                          <p:cTn id="59" fill="hold">
                            <p:stCondLst>
                              <p:cond delay="35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5"/>
                                        </p:tgtEl>
                                        <p:attrNameLst>
                                          <p:attrName>style.visibility</p:attrName>
                                        </p:attrNameLst>
                                      </p:cBhvr>
                                      <p:to>
                                        <p:strVal val="visible"/>
                                      </p:to>
                                    </p:set>
                                    <p:animEffect transition="in" filter="fade">
                                      <p:cBhvr>
                                        <p:cTn id="72" dur="500"/>
                                        <p:tgtEl>
                                          <p:spTgt spid="145"/>
                                        </p:tgtEl>
                                      </p:cBhvr>
                                    </p:animEffect>
                                  </p:childTnLst>
                                </p:cTn>
                              </p:par>
                            </p:childTnLst>
                          </p:cTn>
                        </p:par>
                        <p:par>
                          <p:cTn id="73" fill="hold">
                            <p:stCondLst>
                              <p:cond delay="4500"/>
                            </p:stCondLst>
                            <p:childTnLst>
                              <p:par>
                                <p:cTn id="74" presetID="10" presetClass="entr" presetSubtype="0" fill="hold" grpId="0" nodeType="afterEffect">
                                  <p:stCondLst>
                                    <p:cond delay="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500"/>
                                        <p:tgtEl>
                                          <p:spTgt spid="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4"/>
                                        </p:tgtEl>
                                        <p:attrNameLst>
                                          <p:attrName>style.visibility</p:attrName>
                                        </p:attrNameLst>
                                      </p:cBhvr>
                                      <p:to>
                                        <p:strVal val="visible"/>
                                      </p:to>
                                    </p:set>
                                    <p:animEffect transition="in" filter="fade">
                                      <p:cBhvr>
                                        <p:cTn id="79" dur="500"/>
                                        <p:tgtEl>
                                          <p:spTgt spid="144"/>
                                        </p:tgtEl>
                                      </p:cBhvr>
                                    </p:animEffect>
                                  </p:childTnLst>
                                </p:cTn>
                              </p:par>
                              <p:par>
                                <p:cTn id="80" presetID="10" presetClass="entr" presetSubtype="0" fill="hold" nodeType="withEffect">
                                  <p:stCondLst>
                                    <p:cond delay="0"/>
                                  </p:stCondLst>
                                  <p:childTnLst>
                                    <p:set>
                                      <p:cBhvr>
                                        <p:cTn id="81" dur="1" fill="hold">
                                          <p:stCondLst>
                                            <p:cond delay="0"/>
                                          </p:stCondLst>
                                        </p:cTn>
                                        <p:tgtEl>
                                          <p:spTgt spid="66"/>
                                        </p:tgtEl>
                                        <p:attrNameLst>
                                          <p:attrName>style.visibility</p:attrName>
                                        </p:attrNameLst>
                                      </p:cBhvr>
                                      <p:to>
                                        <p:strVal val="visible"/>
                                      </p:to>
                                    </p:set>
                                    <p:animEffect transition="in" filter="fade">
                                      <p:cBhvr>
                                        <p:cTn id="82" dur="500"/>
                                        <p:tgtEl>
                                          <p:spTgt spid="66"/>
                                        </p:tgtEl>
                                      </p:cBhvr>
                                    </p:animEffect>
                                  </p:childTnLst>
                                </p:cTn>
                              </p:par>
                            </p:childTnLst>
                          </p:cTn>
                        </p:par>
                        <p:par>
                          <p:cTn id="83" fill="hold">
                            <p:stCondLst>
                              <p:cond delay="5000"/>
                            </p:stCondLst>
                            <p:childTnLst>
                              <p:par>
                                <p:cTn id="84" presetID="10" presetClass="entr" presetSubtype="0" fill="hold" grpId="0"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5500"/>
                            </p:stCondLst>
                            <p:childTnLst>
                              <p:par>
                                <p:cTn id="88" presetID="16" presetClass="entr" presetSubtype="37" fill="hold"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barn(outVertical)">
                                      <p:cBhvr>
                                        <p:cTn id="90" dur="500"/>
                                        <p:tgtEl>
                                          <p:spTgt spid="45"/>
                                        </p:tgtEl>
                                      </p:cBhvr>
                                    </p:animEffect>
                                  </p:childTnLst>
                                </p:cTn>
                              </p:par>
                            </p:childTnLst>
                          </p:cTn>
                        </p:par>
                        <p:par>
                          <p:cTn id="91" fill="hold">
                            <p:stCondLst>
                              <p:cond delay="6000"/>
                            </p:stCondLst>
                            <p:childTnLst>
                              <p:par>
                                <p:cTn id="92" presetID="10" presetClass="entr" presetSubtype="0" fill="hold" grpId="0" nodeType="afterEffect">
                                  <p:stCondLst>
                                    <p:cond delay="0"/>
                                  </p:stCondLst>
                                  <p:childTnLst>
                                    <p:set>
                                      <p:cBhvr>
                                        <p:cTn id="93" dur="1" fill="hold">
                                          <p:stCondLst>
                                            <p:cond delay="0"/>
                                          </p:stCondLst>
                                        </p:cTn>
                                        <p:tgtEl>
                                          <p:spTgt spid="148"/>
                                        </p:tgtEl>
                                        <p:attrNameLst>
                                          <p:attrName>style.visibility</p:attrName>
                                        </p:attrNameLst>
                                      </p:cBhvr>
                                      <p:to>
                                        <p:strVal val="visible"/>
                                      </p:to>
                                    </p:set>
                                    <p:animEffect transition="in" filter="fade">
                                      <p:cBhvr>
                                        <p:cTn id="94" dur="250"/>
                                        <p:tgtEl>
                                          <p:spTgt spid="148"/>
                                        </p:tgtEl>
                                      </p:cBhvr>
                                    </p:animEffect>
                                  </p:childTnLst>
                                </p:cTn>
                              </p:par>
                              <p:par>
                                <p:cTn id="95" presetID="10"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animEffect transition="in" filter="fade">
                                      <p:cBhvr>
                                        <p:cTn id="97" dur="250"/>
                                        <p:tgtEl>
                                          <p:spTgt spid="14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47"/>
                                        </p:tgtEl>
                                        <p:attrNameLst>
                                          <p:attrName>style.visibility</p:attrName>
                                        </p:attrNameLst>
                                      </p:cBhvr>
                                      <p:to>
                                        <p:strVal val="visible"/>
                                      </p:to>
                                    </p:set>
                                    <p:animEffect transition="in" filter="fade">
                                      <p:cBhvr>
                                        <p:cTn id="100" dur="250"/>
                                        <p:tgtEl>
                                          <p:spTgt spid="147"/>
                                        </p:tgtEl>
                                      </p:cBhvr>
                                    </p:animEffect>
                                  </p:childTnLst>
                                </p:cTn>
                              </p:par>
                            </p:childTnLst>
                          </p:cTn>
                        </p:par>
                        <p:par>
                          <p:cTn id="101" fill="hold">
                            <p:stCondLst>
                              <p:cond delay="6250"/>
                            </p:stCondLst>
                            <p:childTnLst>
                              <p:par>
                                <p:cTn id="102" presetID="10" presetClass="entr" presetSubtype="0" fill="hold" grpId="0" nodeType="afterEffect">
                                  <p:stCondLst>
                                    <p:cond delay="0"/>
                                  </p:stCondLst>
                                  <p:childTnLst>
                                    <p:set>
                                      <p:cBhvr>
                                        <p:cTn id="103" dur="1" fill="hold">
                                          <p:stCondLst>
                                            <p:cond delay="0"/>
                                          </p:stCondLst>
                                        </p:cTn>
                                        <p:tgtEl>
                                          <p:spTgt spid="146"/>
                                        </p:tgtEl>
                                        <p:attrNameLst>
                                          <p:attrName>style.visibility</p:attrName>
                                        </p:attrNameLst>
                                      </p:cBhvr>
                                      <p:to>
                                        <p:strVal val="visible"/>
                                      </p:to>
                                    </p:set>
                                    <p:animEffect transition="in" filter="fade">
                                      <p:cBhvr>
                                        <p:cTn id="10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49" grpId="0" animBg="1"/>
      <p:bldP spid="47" grpId="0" animBg="1"/>
      <p:bldP spid="46" grpId="0" animBg="1"/>
      <p:bldP spid="59" grpId="0" animBg="1"/>
      <p:bldP spid="51" grpId="0" animBg="1"/>
      <p:bldP spid="63" grpId="0" animBg="1"/>
      <p:bldP spid="74" grpId="0" animBg="1"/>
      <p:bldP spid="144" grpId="0" animBg="1"/>
      <p:bldP spid="145" grpId="0" animBg="1"/>
      <p:bldP spid="146" grpId="0"/>
      <p:bldP spid="141" grpId="0" animBg="1"/>
      <p:bldP spid="142" grpId="0" animBg="1"/>
      <p:bldP spid="147" grpId="0" animBg="1"/>
      <p:bldP spid="148" grpId="0" animBg="1"/>
      <p:bldP spid="143" grpId="0" animBg="1"/>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543850" y="1988536"/>
            <a:ext cx="11104299"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onsider centralized and delegated responsibilities to manage resources deployed inside the landing zon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services or applications within your landing zone support Azure Active Directory authentication?</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es the organization need to extend a current on-premises Active Directory domain into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re there applications that are partly hosted on-premises and partly hosted in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AD-only groups to assign access to Azure resources &amp; start with built-in Azure role definitions, and add on-premises groups to AAD-only groups where applicabl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ploy MFA + CAP for users with access to Azure &amp; use PIM to establish zero standing acces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managed identities instead of service principals for authentication to Azure services. And (where supported) i</a:t>
            </a:r>
            <a:r>
              <a:rPr lang="en-US" sz="2000" spc="-50" dirty="0" err="1">
                <a:ln w="3175">
                  <a:noFill/>
                </a:ln>
                <a:solidFill>
                  <a:srgbClr val="FFFFFF"/>
                </a:solidFill>
                <a:latin typeface="Segoe UI Semibold"/>
                <a:cs typeface="Segoe UI" pitchFamily="34" charset="0"/>
              </a:rPr>
              <a:t>nstead</a:t>
            </a:r>
            <a:r>
              <a:rPr lang="en-US" sz="2000" spc="-50" dirty="0">
                <a:ln w="3175">
                  <a:noFill/>
                </a:ln>
                <a:solidFill>
                  <a:srgbClr val="FFFFFF"/>
                </a:solidFill>
                <a:latin typeface="Segoe UI Semibold"/>
                <a:cs typeface="Segoe UI" pitchFamily="34" charset="0"/>
              </a:rPr>
              <a:t> of service principals, use workload identity federation in scenarios such as GitHub Actions and workloads running on Kubernet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R="0" lvl="0" algn="l" defTabSz="914102" rtl="0" eaLnBrk="1" fontAlgn="base" latinLnBrk="0" hangingPunct="1">
              <a:lnSpc>
                <a:spcPct val="90000"/>
              </a:lnSpc>
              <a:spcBef>
                <a:spcPts val="588"/>
              </a:spcBef>
              <a:spcAft>
                <a:spcPct val="0"/>
              </a:spcAft>
              <a:buClrTx/>
              <a:buSzTx/>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dentity and Access 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91481"/>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73367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4" end="4"/>
                                            </p:txEl>
                                          </p:spTgt>
                                        </p:tgtEl>
                                        <p:attrNameLst>
                                          <p:attrName>style.visibility</p:attrName>
                                        </p:attrNameLst>
                                      </p:cBhvr>
                                      <p:to>
                                        <p:strVal val="visible"/>
                                      </p:to>
                                    </p:set>
                                    <p:animEffect transition="in" filter="fade">
                                      <p:cBhvr>
                                        <p:cTn id="7" dur="1000"/>
                                        <p:tgtEl>
                                          <p:spTgt spid="17">
                                            <p:txEl>
                                              <p:pRg st="4" end="4"/>
                                            </p:txEl>
                                          </p:spTgt>
                                        </p:tgtEl>
                                      </p:cBhvr>
                                    </p:animEffect>
                                    <p:anim calcmode="lin" valueType="num">
                                      <p:cBhvr>
                                        <p:cTn id="8"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1000"/>
                                        <p:tgtEl>
                                          <p:spTgt spid="17">
                                            <p:txEl>
                                              <p:pRg st="0" end="0"/>
                                            </p:txEl>
                                          </p:spTgt>
                                        </p:tgtEl>
                                      </p:cBhvr>
                                    </p:animEffect>
                                    <p:anim calcmode="lin" valueType="num">
                                      <p:cBhvr>
                                        <p:cTn id="14"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1" end="1"/>
                                            </p:txEl>
                                          </p:spTgt>
                                        </p:tgtEl>
                                        <p:attrNameLst>
                                          <p:attrName>style.visibility</p:attrName>
                                        </p:attrNameLst>
                                      </p:cBhvr>
                                      <p:to>
                                        <p:strVal val="visible"/>
                                      </p:to>
                                    </p:set>
                                    <p:animEffect transition="in" filter="fade">
                                      <p:cBhvr>
                                        <p:cTn id="19" dur="1000"/>
                                        <p:tgtEl>
                                          <p:spTgt spid="17">
                                            <p:txEl>
                                              <p:pRg st="1" end="1"/>
                                            </p:txEl>
                                          </p:spTgt>
                                        </p:tgtEl>
                                      </p:cBhvr>
                                    </p:animEffect>
                                    <p:anim calcmode="lin" valueType="num">
                                      <p:cBhvr>
                                        <p:cTn id="20"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2" end="2"/>
                                            </p:txEl>
                                          </p:spTgt>
                                        </p:tgtEl>
                                        <p:attrNameLst>
                                          <p:attrName>style.visibility</p:attrName>
                                        </p:attrNameLst>
                                      </p:cBhvr>
                                      <p:to>
                                        <p:strVal val="visible"/>
                                      </p:to>
                                    </p:set>
                                    <p:animEffect transition="in" filter="fade">
                                      <p:cBhvr>
                                        <p:cTn id="31" dur="1000"/>
                                        <p:tgtEl>
                                          <p:spTgt spid="17">
                                            <p:txEl>
                                              <p:pRg st="2" end="2"/>
                                            </p:txEl>
                                          </p:spTgt>
                                        </p:tgtEl>
                                      </p:cBhvr>
                                    </p:animEffect>
                                    <p:anim calcmode="lin" valueType="num">
                                      <p:cBhvr>
                                        <p:cTn id="3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447570" y="4945779"/>
            <a:ext cx="7213487"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Calibri" panose="020F0502020204030204" pitchFamily="34" charset="0"/>
            </a:endParaRP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D290550-282A-D3E8-D3E6-4684D644B3BD}"/>
              </a:ext>
            </a:extLst>
          </p:cNvPr>
          <p:cNvSpPr txBox="1"/>
          <p:nvPr/>
        </p:nvSpPr>
        <p:spPr>
          <a:xfrm>
            <a:off x="5037403" y="5435050"/>
            <a:ext cx="6599816" cy="646331"/>
          </a:xfrm>
          <a:prstGeom prst="rect">
            <a:avLst/>
          </a:prstGeom>
          <a:noFill/>
        </p:spPr>
        <p:txBody>
          <a:bodyPr wrap="square">
            <a:spAutoFit/>
          </a:bodyPr>
          <a:lstStyle/>
          <a:p>
            <a:r>
              <a:rPr lang="en-US" b="0" i="0" dirty="0">
                <a:solidFill>
                  <a:srgbClr val="171717"/>
                </a:solidFill>
                <a:effectLst/>
                <a:latin typeface="Segoe UI" panose="020B0502040204020203" pitchFamily="34" charset="0"/>
              </a:rPr>
              <a:t>The network topology and connectivity design area is critical for establishing a foundation for your cloud network design.</a:t>
            </a:r>
            <a:endParaRPr lang="en-GB" dirty="0"/>
          </a:p>
        </p:txBody>
      </p:sp>
    </p:spTree>
    <p:extLst>
      <p:ext uri="{BB962C8B-B14F-4D97-AF65-F5344CB8AC3E}">
        <p14:creationId xmlns:p14="http://schemas.microsoft.com/office/powerpoint/2010/main" val="32752277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4542782"/>
          </a:xfrm>
        </p:spPr>
        <p:txBody>
          <a:bodyPr/>
          <a:lstStyle/>
          <a:p>
            <a:r>
              <a:rPr lang="en-US" sz="1800" dirty="0"/>
              <a:t>Define a topology. There’s only 2 – Hub &amp; Spoke and Virtual WAN.</a:t>
            </a:r>
          </a:p>
          <a:p>
            <a:r>
              <a:rPr lang="en-US" sz="1800" dirty="0"/>
              <a:t>Plan IP Addressing. Don’t use /16 unless really needed. Use at least /23 for Hub. Avoid overlapping IP address, including BCDR scenarios. Azure reserves 5 IP addresses from every subnet. Some Azure services require dedicated subnets. These dedicated subnets might have restrictions around naming, sizing, NSGs, and UDRs. </a:t>
            </a:r>
          </a:p>
          <a:p>
            <a:r>
              <a:rPr lang="en-US" sz="1800" dirty="0"/>
              <a:t>When you use multiple ExpressRoute circuits, optimize ExpressRoute routing via BGP local preference and AS PATH prepending. Deploy a zone-redundant ExpressRoute gateway in the supported Azure regions.</a:t>
            </a:r>
          </a:p>
          <a:p>
            <a:r>
              <a:rPr lang="en-US" sz="1800" dirty="0"/>
              <a:t>Monitor your network. Use ExpressRoute Insights, Network Watcher, and Connection Monitor.</a:t>
            </a:r>
          </a:p>
          <a:p>
            <a:r>
              <a:rPr lang="en-US" sz="1800" dirty="0"/>
              <a:t>Use virtual network injection for supported Azure services to make them available from within your virtual network. Azure PaaS services that have been injected into a virtual network still perform management plane operations by using public IP addresses. Ensure that this communication is locked down within the virtual network by using UDRs and NSGs.</a:t>
            </a:r>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316178"/>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5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262979"/>
          </a:xfrm>
        </p:spPr>
        <p:txBody>
          <a:bodyPr/>
          <a:lstStyle/>
          <a:p>
            <a:r>
              <a:rPr lang="en-US" sz="1800" dirty="0"/>
              <a:t>Use Private Link, where available, for Azure PaaS services.</a:t>
            </a:r>
          </a:p>
          <a:p>
            <a:r>
              <a:rPr lang="en-US" sz="1800" dirty="0"/>
              <a:t>Use virtual network service endpoints to secure access to Azure PaaS services from within your virtual network, but only when Private Link isn't available and there are no data exfiltration concerns. Unless you use NVA filtering.</a:t>
            </a:r>
          </a:p>
          <a:p>
            <a:r>
              <a:rPr lang="en-US" sz="1800" dirty="0"/>
              <a:t>Perform application delivery within landing zones for both internal-facing and external-facing applications. For secure delivery of HTTP/S applications, use Application Gateway v2 and ensure that WAF protection and policies are enabled in prevention and not detection mode. Use a partner NVA if you can't use Application Gateway v2 for the security of HTTP/S applications.</a:t>
            </a:r>
          </a:p>
          <a:p>
            <a:r>
              <a:rPr lang="en-US" sz="1800" dirty="0"/>
              <a:t>When you're using Front Door and Application Gateway to help protect HTTP/S applications, use WAF policies in Front Door. Lock down Application Gateway to receive traffic only from Front Door.</a:t>
            </a:r>
          </a:p>
          <a:p>
            <a:r>
              <a:rPr lang="en-US" sz="1800" dirty="0"/>
              <a:t>Plan for inbound and outbound internet connectivity. Use Azure Firewall to govern outbound internet traffic, east &lt;-&gt; west, and on-premises &lt;-&gt; Azure traffic.</a:t>
            </a:r>
          </a:p>
          <a:p>
            <a:endParaRPr lang="en-US" sz="1800" dirty="0"/>
          </a:p>
          <a:p>
            <a:endParaRPr lang="en-US" sz="1800" dirty="0"/>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83905"/>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48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642C08DE-D5BE-D9CE-82BE-164425DBCE7F}"/>
              </a:ext>
            </a:extLst>
          </p:cNvPr>
          <p:cNvSpPr>
            <a:spLocks noGrp="1"/>
          </p:cNvSpPr>
          <p:nvPr>
            <p:ph type="body" sz="quarter" idx="10"/>
          </p:nvPr>
        </p:nvSpPr>
        <p:spPr>
          <a:xfrm>
            <a:off x="5013618" y="4464979"/>
            <a:ext cx="6669658" cy="1723549"/>
          </a:xfrm>
        </p:spPr>
        <p:txBody>
          <a:bodyPr/>
          <a:lstStyle/>
          <a:p>
            <a:r>
              <a:rPr lang="en-US" b="0" i="0" dirty="0">
                <a:solidFill>
                  <a:srgbClr val="171717"/>
                </a:solidFill>
                <a:effectLst/>
                <a:latin typeface="Segoe UI" panose="020B0502040204020203" pitchFamily="34" charset="0"/>
              </a:rPr>
              <a:t>The critical resource organization design area establishes consistent patterns for organizing resources deployed to the cloud.</a:t>
            </a:r>
            <a:endParaRPr lang="en-GB" dirty="0"/>
          </a:p>
        </p:txBody>
      </p:sp>
    </p:spTree>
    <p:extLst>
      <p:ext uri="{BB962C8B-B14F-4D97-AF65-F5344CB8AC3E}">
        <p14:creationId xmlns:p14="http://schemas.microsoft.com/office/powerpoint/2010/main" val="310089914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Resource Organization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11785"/>
          </a:xfrm>
        </p:spPr>
        <p:txBody>
          <a:bodyPr/>
          <a:lstStyle/>
          <a:p>
            <a:r>
              <a:rPr lang="en-US" sz="1800" dirty="0"/>
              <a:t>Avoid replicating the organization’s hierarchy chart. What if the customer goes thru a re-org?</a:t>
            </a:r>
          </a:p>
          <a:p>
            <a:r>
              <a:rPr lang="en-US" sz="1800" dirty="0"/>
              <a:t>Avoid organizing for billing purposes. The industry standard is to use Tags (accounting) + Azure Cost Management to query &amp; aggregate costs. Make this available to application owners.</a:t>
            </a:r>
          </a:p>
          <a:p>
            <a:r>
              <a:rPr lang="en-US" sz="1800" dirty="0"/>
              <a:t>Keep the management group hierarchy flat (3-4 levels).</a:t>
            </a:r>
          </a:p>
          <a:p>
            <a:r>
              <a:rPr lang="en-US" sz="1800" dirty="0"/>
              <a:t>Focus on organizing based upon Azure Policy Assignments (e.g., restrict public IP on internal workloads, prod/non-prod naming conventions, etc.).</a:t>
            </a:r>
          </a:p>
          <a:p>
            <a:r>
              <a:rPr lang="en-US" sz="1800" dirty="0"/>
              <a:t>Utilize a sandbox management group &amp; configure a default management group for new subscriptions.</a:t>
            </a:r>
          </a:p>
          <a:p>
            <a:r>
              <a:rPr lang="en-US" sz="1800" dirty="0"/>
              <a:t>Limit Policy assignments made at the intermediate management group.</a:t>
            </a:r>
          </a:p>
          <a:p>
            <a:r>
              <a:rPr lang="en-US" sz="1800" dirty="0"/>
              <a:t>Create management groups to represent regulatory workloads (GDPR, PCI, region-locked, etc.).</a:t>
            </a:r>
          </a:p>
          <a:p>
            <a:r>
              <a:rPr lang="en-US" sz="1800" dirty="0"/>
              <a:t>Consider limits and quotas within the Azure platform for each service that your workloads require. Raise support requests for quota increases under subscription provisioning, such as for total available VM cores within a subscription. Ensure that quota limits are set before workloads exceed the default limits.</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6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descr="Diagram of an example of a sub-optimal management group hierarchy for enterprise-scale architecture when handling dev/test/production landing zones.">
            <a:extLst>
              <a:ext uri="{FF2B5EF4-FFF2-40B4-BE49-F238E27FC236}">
                <a16:creationId xmlns:a16="http://schemas.microsoft.com/office/drawing/2014/main" id="{C5B217F9-5135-77C3-97A3-0DBC5DC25B4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06148" y="1758433"/>
            <a:ext cx="7698476" cy="4330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7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6" name="Picture 4" descr="Screenshot that shows an example of a optimal management group hierarchy for enterprise-scale architecture when handling development, test, and production landing zones">
            <a:extLst>
              <a:ext uri="{FF2B5EF4-FFF2-40B4-BE49-F238E27FC236}">
                <a16:creationId xmlns:a16="http://schemas.microsoft.com/office/drawing/2014/main" id="{E2CD0A1F-6EAF-B627-27DE-966726EADEAB}"/>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71750" y="1865405"/>
            <a:ext cx="7508302" cy="422342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FB1F0F2-0AC7-47B9-FE32-8F62E27CA847}"/>
              </a:ext>
            </a:extLst>
          </p:cNvPr>
          <p:cNvSpPr txBox="1"/>
          <p:nvPr/>
        </p:nvSpPr>
        <p:spPr>
          <a:xfrm>
            <a:off x="86061" y="6373355"/>
            <a:ext cx="11144922" cy="253916"/>
          </a:xfrm>
          <a:prstGeom prst="rect">
            <a:avLst/>
          </a:prstGeom>
          <a:noFill/>
        </p:spPr>
        <p:txBody>
          <a:bodyPr wrap="square">
            <a:spAutoFit/>
          </a:bodyPr>
          <a:lstStyle/>
          <a:p>
            <a:pPr rtl="0"/>
            <a:r>
              <a:rPr lang="en-US" sz="1050" b="0" i="0" dirty="0">
                <a:effectLst/>
                <a:latin typeface="docons"/>
              </a:rPr>
              <a:t>Note: </a:t>
            </a:r>
            <a:r>
              <a:rPr lang="en-US" sz="1050" b="0" i="0" dirty="0">
                <a:effectLst/>
                <a:latin typeface="Segoe UI" panose="020B0502040204020203" pitchFamily="34" charset="0"/>
              </a:rPr>
              <a:t>We discussed this topic in our enterprise-scale community call in August 2021. You can find the recording on </a:t>
            </a:r>
            <a:r>
              <a:rPr lang="en-US" sz="1050" b="1" i="0" u="none" strike="noStrike" dirty="0">
                <a:effectLst/>
                <a:latin typeface="Segoe UI" panose="020B0502040204020203" pitchFamily="34" charset="0"/>
                <a:hlinkClick r:id="rId4">
                  <a:extLst>
                    <a:ext uri="{A12FA001-AC4F-418D-AE19-62706E023703}">
                      <ahyp:hlinkClr xmlns:ahyp="http://schemas.microsoft.com/office/drawing/2018/hyperlinkcolor" val="tx"/>
                    </a:ext>
                  </a:extLst>
                </a:hlinkClick>
              </a:rPr>
              <a:t>YouTube.</a:t>
            </a:r>
            <a:endParaRPr lang="en-US" sz="1050" b="0" i="0" dirty="0">
              <a:effectLst/>
              <a:latin typeface="Segoe UI" panose="020B0502040204020203" pitchFamily="34" charset="0"/>
            </a:endParaRPr>
          </a:p>
        </p:txBody>
      </p:sp>
    </p:spTree>
    <p:extLst>
      <p:ext uri="{BB962C8B-B14F-4D97-AF65-F5344CB8AC3E}">
        <p14:creationId xmlns:p14="http://schemas.microsoft.com/office/powerpoint/2010/main" val="34540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700508" y="4861879"/>
            <a:ext cx="7029909" cy="1077218"/>
          </a:xfrm>
          <a:prstGeom prst="rect">
            <a:avLst/>
          </a:prstGeom>
          <a:noFill/>
        </p:spPr>
        <p:txBody>
          <a:bodyPr wrap="square">
            <a:spAutoFit/>
          </a:bodyPr>
          <a:lstStyle/>
          <a:p>
            <a:pPr algn="l"/>
            <a:r>
              <a:rPr lang="en-US" sz="1600" b="0" i="0" dirty="0">
                <a:solidFill>
                  <a:srgbClr val="171717"/>
                </a:solidFill>
                <a:effectLst/>
                <a:latin typeface="Segoe UI" panose="020B0502040204020203" pitchFamily="34" charset="0"/>
              </a:rPr>
              <a:t>This design area creates a foundation for security across your Azure, hybrid, and </a:t>
            </a:r>
            <a:r>
              <a:rPr lang="en-US" sz="1600" b="0" i="0" dirty="0" err="1">
                <a:solidFill>
                  <a:srgbClr val="171717"/>
                </a:solidFill>
                <a:effectLst/>
                <a:latin typeface="Segoe UI" panose="020B0502040204020203" pitchFamily="34" charset="0"/>
              </a:rPr>
              <a:t>multicloud</a:t>
            </a:r>
            <a:r>
              <a:rPr lang="en-US" sz="1600" b="0" i="0" dirty="0">
                <a:solidFill>
                  <a:srgbClr val="171717"/>
                </a:solidFill>
                <a:effectLst/>
                <a:latin typeface="Segoe UI" panose="020B0502040204020203" pitchFamily="34" charset="0"/>
              </a:rPr>
              <a:t> environments.</a:t>
            </a:r>
          </a:p>
          <a:p>
            <a:pPr algn="l"/>
            <a:r>
              <a:rPr lang="en-US" sz="1600" b="0" i="0" dirty="0">
                <a:solidFill>
                  <a:srgbClr val="171717"/>
                </a:solidFill>
                <a:effectLst/>
                <a:latin typeface="Segoe UI" panose="020B0502040204020203" pitchFamily="34" charset="0"/>
              </a:rPr>
              <a:t>You can enhance this foundation later with security guidance outlined in the </a:t>
            </a:r>
            <a:r>
              <a:rPr lang="en-US" sz="1600" b="0" i="0" u="none" strike="noStrike" dirty="0">
                <a:effectLst/>
                <a:latin typeface="Segoe UI" panose="020B0502040204020203" pitchFamily="34" charset="0"/>
                <a:hlinkClick r:id="rId3"/>
              </a:rPr>
              <a:t>Cloud Adoption Framework's Secure methodology</a:t>
            </a:r>
            <a:r>
              <a:rPr lang="en-US" sz="1600" b="0" i="0" dirty="0">
                <a:solidFill>
                  <a:srgbClr val="171717"/>
                </a:solidFill>
                <a:effectLst/>
                <a:latin typeface="Segoe UI" panose="020B0502040204020203" pitchFamily="34" charset="0"/>
              </a:rPr>
              <a:t>.</a:t>
            </a:r>
            <a:endParaRPr lang="en-US" sz="1600" b="0" i="0" dirty="0">
              <a:solidFill>
                <a:srgbClr val="24292E"/>
              </a:solidFill>
              <a:effectLst/>
            </a:endParaRP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839984" y="1527580"/>
            <a:ext cx="10155118"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teams require notifications for security alert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emergency patching for critical vulnerabiliti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requires access to encryption keys in the environment? And who will be responsible for managing the key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velop and follow a roadmap to secure privileged access against cyber attacker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AD PIM, identify &amp; categorize accounts in highly privileged roles, define at least two break-glass accounts, enforce MFA with CAP.</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nable Defender for Cloud to protect your environment and your workload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t>
            </a:r>
            <a:r>
              <a:rPr lang="en-US" sz="2000" spc="-50" dirty="0">
                <a:ln w="3175">
                  <a:noFill/>
                </a:ln>
                <a:solidFill>
                  <a:srgbClr val="FFFFFF"/>
                </a:solidFill>
                <a:latin typeface="Segoe UI Semibold"/>
                <a:cs typeface="Segoe UI" pitchFamily="34" charset="0"/>
              </a:rPr>
              <a:t>Security Posture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o monitor your overall </a:t>
            </a:r>
            <a:r>
              <a:rPr lang="en-US" sz="2000" spc="-50" dirty="0">
                <a:ln w="3175">
                  <a:noFill/>
                </a:ln>
                <a:solidFill>
                  <a:srgbClr val="FFFFFF"/>
                </a:solidFill>
                <a:latin typeface="Segoe UI Semibold"/>
                <a:cs typeface="Segoe UI" pitchFamily="34" charset="0"/>
              </a:rPr>
              <a:t>security posture. Use the Secure Score Over Time workbook.</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y Zero-Trust and Defense-in-Depth principles. Apply and enforce network segment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Policies </a:t>
            </a:r>
            <a:r>
              <a:rPr lang="en-US" sz="2000" spc="-50" dirty="0">
                <a:ln w="3175">
                  <a:noFill/>
                </a:ln>
                <a:solidFill>
                  <a:srgbClr val="FFFFFF"/>
                </a:solidFill>
                <a:latin typeface="Segoe UI Semibold"/>
                <a:cs typeface="Segoe UI" pitchFamily="34" charset="0"/>
              </a:rPr>
              <a:t>to</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t>
            </a:r>
            <a:r>
              <a:rPr lang="en-US" sz="2000" spc="-50" dirty="0">
                <a:ln w="3175">
                  <a:noFill/>
                </a:ln>
                <a:solidFill>
                  <a:srgbClr val="FFFFFF"/>
                </a:solidFill>
                <a:latin typeface="Segoe UI Semibold"/>
                <a:cs typeface="Segoe UI" pitchFamily="34" charset="0"/>
              </a:rPr>
              <a:t>audit and enforce g</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overnance</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round security, compliance and regulatory </a:t>
            </a:r>
            <a:r>
              <a:rPr lang="en-US" sz="2000" spc="-50" dirty="0">
                <a:ln w="3175">
                  <a:noFill/>
                </a:ln>
                <a:solidFill>
                  <a:srgbClr val="FFFFFF"/>
                </a:solidFill>
                <a:latin typeface="Segoe UI Semibold"/>
                <a:cs typeface="Segoe UI" pitchFamily="34" charset="0"/>
              </a:rPr>
              <a:t>requirements. </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1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ecurity Design Area 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2796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56434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6" end="6"/>
                                            </p:txEl>
                                          </p:spTgt>
                                        </p:tgtEl>
                                        <p:attrNameLst>
                                          <p:attrName>style.visibility</p:attrName>
                                        </p:attrNameLst>
                                      </p:cBhvr>
                                      <p:to>
                                        <p:strVal val="visible"/>
                                      </p:to>
                                    </p:set>
                                    <p:animEffect transition="in" filter="fade">
                                      <p:cBhvr>
                                        <p:cTn id="7" dur="1000"/>
                                        <p:tgtEl>
                                          <p:spTgt spid="17">
                                            <p:txEl>
                                              <p:pRg st="6" end="6"/>
                                            </p:txEl>
                                          </p:spTgt>
                                        </p:tgtEl>
                                      </p:cBhvr>
                                    </p:animEffect>
                                    <p:anim calcmode="lin" valueType="num">
                                      <p:cBhvr>
                                        <p:cTn id="8"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7" end="7"/>
                                            </p:txEl>
                                          </p:spTgt>
                                        </p:tgtEl>
                                        <p:attrNameLst>
                                          <p:attrName>style.visibility</p:attrName>
                                        </p:attrNameLst>
                                      </p:cBhvr>
                                      <p:to>
                                        <p:strVal val="visible"/>
                                      </p:to>
                                    </p:set>
                                    <p:animEffect transition="in" filter="fade">
                                      <p:cBhvr>
                                        <p:cTn id="13" dur="1000"/>
                                        <p:tgtEl>
                                          <p:spTgt spid="17">
                                            <p:txEl>
                                              <p:pRg st="7" end="7"/>
                                            </p:txEl>
                                          </p:spTgt>
                                        </p:tgtEl>
                                      </p:cBhvr>
                                    </p:animEffect>
                                    <p:anim calcmode="lin" valueType="num">
                                      <p:cBhvr>
                                        <p:cTn id="14"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animEffect transition="in" filter="fade">
                                      <p:cBhvr>
                                        <p:cTn id="19" dur="1000"/>
                                        <p:tgtEl>
                                          <p:spTgt spid="17">
                                            <p:txEl>
                                              <p:pRg st="5" end="5"/>
                                            </p:txEl>
                                          </p:spTgt>
                                        </p:tgtEl>
                                      </p:cBhvr>
                                    </p:animEffect>
                                    <p:anim calcmode="lin" valueType="num">
                                      <p:cBhvr>
                                        <p:cTn id="2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1000"/>
                                        <p:tgtEl>
                                          <p:spTgt spid="17">
                                            <p:txEl>
                                              <p:pRg st="0" end="0"/>
                                            </p:txEl>
                                          </p:spTgt>
                                        </p:tgtEl>
                                      </p:cBhvr>
                                    </p:animEffect>
                                    <p:anim calcmode="lin" valueType="num">
                                      <p:cBhvr>
                                        <p:cTn id="32"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1" end="1"/>
                                            </p:txEl>
                                          </p:spTgt>
                                        </p:tgtEl>
                                        <p:attrNameLst>
                                          <p:attrName>style.visibility</p:attrName>
                                        </p:attrNameLst>
                                      </p:cBhvr>
                                      <p:to>
                                        <p:strVal val="visible"/>
                                      </p:to>
                                    </p:set>
                                    <p:animEffect transition="in" filter="fade">
                                      <p:cBhvr>
                                        <p:cTn id="37" dur="1000"/>
                                        <p:tgtEl>
                                          <p:spTgt spid="17">
                                            <p:txEl>
                                              <p:pRg st="1" end="1"/>
                                            </p:txEl>
                                          </p:spTgt>
                                        </p:tgtEl>
                                      </p:cBhvr>
                                    </p:animEffect>
                                    <p:anim calcmode="lin" valueType="num">
                                      <p:cBhvr>
                                        <p:cTn id="38"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2" end="2"/>
                                            </p:txEl>
                                          </p:spTgt>
                                        </p:tgtEl>
                                        <p:attrNameLst>
                                          <p:attrName>style.visibility</p:attrName>
                                        </p:attrNameLst>
                                      </p:cBhvr>
                                      <p:to>
                                        <p:strVal val="visible"/>
                                      </p:to>
                                    </p:set>
                                    <p:animEffect transition="in" filter="fade">
                                      <p:cBhvr>
                                        <p:cTn id="43" dur="1000"/>
                                        <p:tgtEl>
                                          <p:spTgt spid="17">
                                            <p:txEl>
                                              <p:pRg st="2" end="2"/>
                                            </p:txEl>
                                          </p:spTgt>
                                        </p:tgtEl>
                                      </p:cBhvr>
                                    </p:animEffect>
                                    <p:anim calcmode="lin" valueType="num">
                                      <p:cBhvr>
                                        <p:cTn id="44"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4" end="4"/>
                                            </p:txEl>
                                          </p:spTgt>
                                        </p:tgtEl>
                                        <p:attrNameLst>
                                          <p:attrName>style.visibility</p:attrName>
                                        </p:attrNameLst>
                                      </p:cBhvr>
                                      <p:to>
                                        <p:strVal val="visible"/>
                                      </p:to>
                                    </p:set>
                                    <p:animEffect transition="in" filter="fade">
                                      <p:cBhvr>
                                        <p:cTn id="49" dur="1000"/>
                                        <p:tgtEl>
                                          <p:spTgt spid="17">
                                            <p:txEl>
                                              <p:pRg st="4" end="4"/>
                                            </p:txEl>
                                          </p:spTgt>
                                        </p:tgtEl>
                                      </p:cBhvr>
                                    </p:animEffect>
                                    <p:anim calcmode="lin" valueType="num">
                                      <p:cBhvr>
                                        <p:cTn id="50"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p>
        </p:txBody>
      </p:sp>
    </p:spTree>
    <p:extLst>
      <p:ext uri="{BB962C8B-B14F-4D97-AF65-F5344CB8AC3E}">
        <p14:creationId xmlns:p14="http://schemas.microsoft.com/office/powerpoint/2010/main" val="721570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923330"/>
          </a:xfrm>
          <a:prstGeom prst="rect">
            <a:avLst/>
          </a:prstGeom>
          <a:noFill/>
        </p:spPr>
        <p:txBody>
          <a:bodyPr wrap="square">
            <a:spAutoFit/>
          </a:bodyPr>
          <a:lstStyle/>
          <a:p>
            <a:pPr>
              <a:spcAft>
                <a:spcPts val="600"/>
              </a:spcAft>
            </a:pPr>
            <a:r>
              <a:rPr lang="en-US" b="1" i="0" dirty="0">
                <a:solidFill>
                  <a:srgbClr val="24292E"/>
                </a:solidFill>
                <a:effectLst/>
                <a:latin typeface="Segoe UI" panose="020B0502040204020203" pitchFamily="34" charset="0"/>
                <a:cs typeface="Segoe UI" panose="020B0502040204020203" pitchFamily="34" charset="0"/>
              </a:rPr>
              <a:t>This design area establishes a foundation for operations management across your Azure, hybrid, or </a:t>
            </a:r>
            <a:r>
              <a:rPr lang="en-US" b="1" i="0" dirty="0" err="1">
                <a:solidFill>
                  <a:srgbClr val="24292E"/>
                </a:solidFill>
                <a:effectLst/>
                <a:latin typeface="Segoe UI" panose="020B0502040204020203" pitchFamily="34" charset="0"/>
                <a:cs typeface="Segoe UI" panose="020B0502040204020203" pitchFamily="34" charset="0"/>
              </a:rPr>
              <a:t>multicloud</a:t>
            </a:r>
            <a:r>
              <a:rPr lang="en-US" b="1" i="0" dirty="0">
                <a:solidFill>
                  <a:srgbClr val="24292E"/>
                </a:solidFill>
                <a:effectLst/>
                <a:latin typeface="Segoe UI" panose="020B0502040204020203" pitchFamily="34" charset="0"/>
                <a:cs typeface="Segoe UI" panose="020B0502040204020203" pitchFamily="34" charset="0"/>
              </a:rPr>
              <a:t> environments.</a:t>
            </a: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674164"/>
            <a:ext cx="10824882" cy="58187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bservability not Monitoring. Seek total visibility, a key monitoring principle, as soon as possible. Once initial observability is achieved, then build upon that initial level of visibility to develop actionable alerts (don’t spam!), create useful dashboards, and evaluate AIOps solu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The ALZ Accelerator includes diagnostic settings for activity logs, VMs, and PaaS resources sent to Log Analytics. Use a single monitor logs workspace to manage platforms centrally except where Azure RBAC, data sovereignty requirements, and data retention policies mandate separate workspaces. Data sent to a different region via Diagnostic settings doesn't incur data transfer charg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xport logs to Azure Storage if log retention requirements exceed two years. </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n't send raw log entries back to on-premises monitoring systems. Instead, adopt a principle that data born in Azure stays in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zure Monitor Metrics for time-sensitive analysis. Use Azure Monitor Logs for insights and reporting. Use Azure Monitor alerts for generating operational aler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Update Management in Azure as a long-term patching mechanism.</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22214548"/>
      </p:ext>
    </p:extLst>
  </p:cSld>
  <p:clrMapOvr>
    <a:overrideClrMapping bg1="dk1" tx1="lt1" bg2="dk2" tx2="lt2" accent1="accent1" accent2="accent2" accent3="accent3" accent4="accent4" accent5="accent5" accent6="accent6" hlink="hlink" folHlink="folHlink"/>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The 5 Disciplines of Monitoring</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Monitoring disciplines">
            <a:extLst>
              <a:ext uri="{FF2B5EF4-FFF2-40B4-BE49-F238E27FC236}">
                <a16:creationId xmlns:a16="http://schemas.microsoft.com/office/drawing/2014/main" id="{6A3E1353-E245-6647-C715-FDC6695EC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2584" y="1496540"/>
            <a:ext cx="10105016" cy="526039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078967280"/>
      </p:ext>
    </p:extLst>
  </p:cSld>
  <p:clrMapOvr>
    <a:overrideClrMapping bg1="dk1" tx1="lt1" bg2="dk2" tx2="lt2" accent1="accent1" accent2="accent2" accent3="accent3" accent4="accent4" accent5="accent5" accent6="accent6" hlink="hlink" folHlink="folHlink"/>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739827" cy="2839636"/>
          </a:xfrm>
          <a:prstGeom prst="rect">
            <a:avLst/>
          </a:prstGeom>
        </p:spPr>
        <p:txBody>
          <a:bodyPr wrap="square" anchor="t">
            <a:normAutofit/>
          </a:bodyPr>
          <a:lstStyle/>
          <a:p>
            <a:r>
              <a:rPr lang="en-GB" dirty="0"/>
              <a:t>Management Protect and Recover</a:t>
            </a:r>
            <a:br>
              <a:rPr lang="en-GB" dirty="0"/>
            </a:br>
            <a:endParaRPr lang="en-GB" dirty="0"/>
          </a:p>
        </p:txBody>
      </p:sp>
      <p:sp>
        <p:nvSpPr>
          <p:cNvPr id="6" name="TextBox 5">
            <a:extLst>
              <a:ext uri="{FF2B5EF4-FFF2-40B4-BE49-F238E27FC236}">
                <a16:creationId xmlns:a16="http://schemas.microsoft.com/office/drawing/2014/main" id="{13652C33-6913-4946-A58A-AF744D18BF78}"/>
              </a:ext>
            </a:extLst>
          </p:cNvPr>
          <p:cNvSpPr txBox="1"/>
          <p:nvPr/>
        </p:nvSpPr>
        <p:spPr>
          <a:xfrm>
            <a:off x="4660696" y="5019742"/>
            <a:ext cx="7346122" cy="1200329"/>
          </a:xfrm>
          <a:prstGeom prst="rect">
            <a:avLst/>
          </a:prstGeom>
          <a:noFill/>
        </p:spPr>
        <p:txBody>
          <a:bodyPr wrap="square">
            <a:spAutoFit/>
          </a:bodyPr>
          <a:lstStyle/>
          <a:p>
            <a:pPr algn="l"/>
            <a:r>
              <a:rPr lang="en-US" b="0" i="0" dirty="0">
                <a:solidFill>
                  <a:srgbClr val="24292E"/>
                </a:solidFill>
                <a:effectLst/>
              </a:rPr>
              <a:t>Murphy’s law</a:t>
            </a:r>
          </a:p>
          <a:p>
            <a:pPr algn="l"/>
            <a:r>
              <a:rPr lang="en-US" b="0" i="0" dirty="0">
                <a:solidFill>
                  <a:srgbClr val="202122"/>
                </a:solidFill>
                <a:effectLst/>
                <a:latin typeface="Arial" panose="020B0604020202020204" pitchFamily="34" charset="0"/>
              </a:rPr>
              <a:t>"Anything that can go wrong will go wrong.“ </a:t>
            </a:r>
          </a:p>
          <a:p>
            <a:pPr algn="l"/>
            <a:endParaRPr lang="en-US" dirty="0">
              <a:solidFill>
                <a:srgbClr val="202122"/>
              </a:solidFill>
              <a:latin typeface="Arial" panose="020B0604020202020204" pitchFamily="34" charset="0"/>
            </a:endParaRPr>
          </a:p>
          <a:p>
            <a:pPr algn="l"/>
            <a:r>
              <a:rPr lang="en-US" b="0" i="0" dirty="0">
                <a:solidFill>
                  <a:srgbClr val="202122"/>
                </a:solidFill>
                <a:effectLst/>
                <a:latin typeface="Arial" panose="020B0604020202020204" pitchFamily="34" charset="0"/>
              </a:rPr>
              <a:t>A</a:t>
            </a:r>
            <a:r>
              <a:rPr lang="en-US" dirty="0">
                <a:solidFill>
                  <a:srgbClr val="202122"/>
                </a:solidFill>
                <a:latin typeface="Arial" panose="020B0604020202020204" pitchFamily="34" charset="0"/>
              </a:rPr>
              <a:t>lso, because </a:t>
            </a:r>
            <a:r>
              <a:rPr lang="en-US" dirty="0" err="1">
                <a:solidFill>
                  <a:srgbClr val="202122"/>
                </a:solidFill>
                <a:latin typeface="Arial" panose="020B0604020202020204" pitchFamily="34" charset="0"/>
              </a:rPr>
              <a:t>sh!t</a:t>
            </a:r>
            <a:r>
              <a:rPr lang="en-US" dirty="0">
                <a:solidFill>
                  <a:srgbClr val="202122"/>
                </a:solidFill>
                <a:latin typeface="Arial" panose="020B0604020202020204" pitchFamily="34" charset="0"/>
              </a:rPr>
              <a:t> happens.</a:t>
            </a:r>
            <a:endParaRPr lang="en-US" b="0" i="0" dirty="0">
              <a:solidFill>
                <a:srgbClr val="202122"/>
              </a:solidFill>
              <a:effectLst/>
              <a:latin typeface="Arial" panose="020B0604020202020204" pitchFamily="34" charset="0"/>
            </a:endParaRP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8194" name="Picture 2" descr="CAF enterprise-scale landing zone architecture">
            <a:extLst>
              <a:ext uri="{FF2B5EF4-FFF2-40B4-BE49-F238E27FC236}">
                <a16:creationId xmlns:a16="http://schemas.microsoft.com/office/drawing/2014/main" id="{BCFCB064-CA67-47E6-8834-166CE90C8C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536" t="55851" r="23452"/>
          <a:stretch/>
        </p:blipFill>
        <p:spPr bwMode="auto">
          <a:xfrm>
            <a:off x="5275725" y="198953"/>
            <a:ext cx="3529372" cy="3859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2072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107996"/>
          </a:xfrm>
        </p:spPr>
        <p:txBody>
          <a:bodyPr/>
          <a:lstStyle/>
          <a:p>
            <a:pPr algn="ctr"/>
            <a:r>
              <a:rPr lang="en-US" dirty="0"/>
              <a:t>Building reliable systems</a:t>
            </a:r>
            <a:br>
              <a:rPr lang="en-US" dirty="0"/>
            </a:br>
            <a:r>
              <a:rPr lang="en-US" dirty="0"/>
              <a:t>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2733575" y="2540225"/>
            <a:ext cx="6724850" cy="706057"/>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You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rchitecture, built on the below.</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73254" y="3686366"/>
            <a:ext cx="11845492" cy="706057"/>
            <a:chOff x="5633674" y="2521564"/>
            <a:chExt cx="5443282" cy="706057"/>
          </a:xfrm>
        </p:grpSpPr>
        <p:sp>
          <p:nvSpPr>
            <p:cNvPr id="13" name="Rectangle 12">
              <a:extLst>
                <a:ext uri="{FF2B5EF4-FFF2-40B4-BE49-F238E27FC236}">
                  <a16:creationId xmlns:a16="http://schemas.microsoft.com/office/drawing/2014/main" id="{7D4A7C27-B887-45D2-B2F7-1DAEC543BD34}"/>
                </a:ext>
              </a:extLst>
            </p:cNvPr>
            <p:cNvSpPr/>
            <p:nvPr/>
          </p:nvSpPr>
          <p:spPr>
            <a:xfrm>
              <a:off x="5633674" y="2521564"/>
              <a:ext cx="5443282"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cy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 as neede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356135" y="4832507"/>
            <a:ext cx="11479728" cy="706057"/>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t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 to ensure availability.</a:t>
              </a: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50815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EA9AD91-CEC0-44D1-A380-20991FFD1574}"/>
              </a:ext>
            </a:extLst>
          </p:cNvPr>
          <p:cNvSpPr/>
          <p:nvPr/>
        </p:nvSpPr>
        <p:spPr bwMode="auto">
          <a:xfrm>
            <a:off x="-1" y="1780715"/>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a:t>
            </a:r>
          </a:p>
        </p:txBody>
      </p:sp>
      <p:sp>
        <p:nvSpPr>
          <p:cNvPr id="14" name="Rectangle 13">
            <a:extLst>
              <a:ext uri="{FF2B5EF4-FFF2-40B4-BE49-F238E27FC236}">
                <a16:creationId xmlns:a16="http://schemas.microsoft.com/office/drawing/2014/main" id="{B6E41026-37A1-4D4E-90C5-C218486FC8A7}"/>
              </a:ext>
            </a:extLst>
          </p:cNvPr>
          <p:cNvSpPr/>
          <p:nvPr/>
        </p:nvSpPr>
        <p:spPr bwMode="auto">
          <a:xfrm>
            <a:off x="-4" y="2997286"/>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HA</a:t>
            </a:r>
          </a:p>
        </p:txBody>
      </p:sp>
      <p:sp>
        <p:nvSpPr>
          <p:cNvPr id="16" name="Rectangle 15">
            <a:extLst>
              <a:ext uri="{FF2B5EF4-FFF2-40B4-BE49-F238E27FC236}">
                <a16:creationId xmlns:a16="http://schemas.microsoft.com/office/drawing/2014/main" id="{E6F928D2-8FE1-478F-8F75-0F1880A058E3}"/>
              </a:ext>
            </a:extLst>
          </p:cNvPr>
          <p:cNvSpPr/>
          <p:nvPr/>
        </p:nvSpPr>
        <p:spPr bwMode="auto">
          <a:xfrm>
            <a:off x="-3" y="4213857"/>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R</a:t>
            </a:r>
          </a:p>
        </p:txBody>
      </p:sp>
      <p:sp>
        <p:nvSpPr>
          <p:cNvPr id="19" name="Rectangle 18">
            <a:extLst>
              <a:ext uri="{FF2B5EF4-FFF2-40B4-BE49-F238E27FC236}">
                <a16:creationId xmlns:a16="http://schemas.microsoft.com/office/drawing/2014/main" id="{3545949C-FA2B-4FA5-873E-9DB989DE2E90}"/>
              </a:ext>
            </a:extLst>
          </p:cNvPr>
          <p:cNvSpPr/>
          <p:nvPr/>
        </p:nvSpPr>
        <p:spPr bwMode="auto">
          <a:xfrm>
            <a:off x="0" y="5424098"/>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liability</a:t>
            </a:r>
          </a:p>
        </p:txBody>
      </p:sp>
      <p:sp>
        <p:nvSpPr>
          <p:cNvPr id="21" name="Rectangle 20">
            <a:extLst>
              <a:ext uri="{FF2B5EF4-FFF2-40B4-BE49-F238E27FC236}">
                <a16:creationId xmlns:a16="http://schemas.microsoft.com/office/drawing/2014/main" id="{4332DFA3-62EB-4030-9CDF-3844178B60FF}"/>
              </a:ext>
            </a:extLst>
          </p:cNvPr>
          <p:cNvSpPr/>
          <p:nvPr/>
        </p:nvSpPr>
        <p:spPr bwMode="auto">
          <a:xfrm>
            <a:off x="3430854" y="1780095"/>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recover gracefully and continue functioning with minimal downtime</a:t>
            </a:r>
          </a:p>
        </p:txBody>
      </p:sp>
      <p:sp>
        <p:nvSpPr>
          <p:cNvPr id="23" name="Rectangle 22">
            <a:extLst>
              <a:ext uri="{FF2B5EF4-FFF2-40B4-BE49-F238E27FC236}">
                <a16:creationId xmlns:a16="http://schemas.microsoft.com/office/drawing/2014/main" id="{26C90915-41C3-427A-8D2E-E0EF7257BC2C}"/>
              </a:ext>
            </a:extLst>
          </p:cNvPr>
          <p:cNvSpPr/>
          <p:nvPr/>
        </p:nvSpPr>
        <p:spPr bwMode="auto">
          <a:xfrm>
            <a:off x="3430853" y="2997286"/>
            <a:ext cx="6705601"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stay available during outages</a:t>
            </a:r>
          </a:p>
        </p:txBody>
      </p:sp>
      <p:sp>
        <p:nvSpPr>
          <p:cNvPr id="24" name="Rectangle 23">
            <a:extLst>
              <a:ext uri="{FF2B5EF4-FFF2-40B4-BE49-F238E27FC236}">
                <a16:creationId xmlns:a16="http://schemas.microsoft.com/office/drawing/2014/main" id="{55CDFA46-5498-4120-BCAC-C137526C37C3}"/>
              </a:ext>
            </a:extLst>
          </p:cNvPr>
          <p:cNvSpPr/>
          <p:nvPr/>
        </p:nvSpPr>
        <p:spPr bwMode="auto">
          <a:xfrm>
            <a:off x="3430855" y="4213857"/>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continue operations when normal repair activities cannot recover in a reasonable timeframe</a:t>
            </a:r>
          </a:p>
        </p:txBody>
      </p:sp>
      <p:sp>
        <p:nvSpPr>
          <p:cNvPr id="25" name="Rectangle 24">
            <a:extLst>
              <a:ext uri="{FF2B5EF4-FFF2-40B4-BE49-F238E27FC236}">
                <a16:creationId xmlns:a16="http://schemas.microsoft.com/office/drawing/2014/main" id="{73A5B79E-0AB9-42D6-BBA4-7B56C996F998}"/>
              </a:ext>
            </a:extLst>
          </p:cNvPr>
          <p:cNvSpPr/>
          <p:nvPr/>
        </p:nvSpPr>
        <p:spPr bwMode="auto">
          <a:xfrm>
            <a:off x="3430854" y="5424098"/>
            <a:ext cx="6705601" cy="104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bined measure when an application or services is resilient, highly available, and has a defined approach to backup and DR</a:t>
            </a:r>
          </a:p>
        </p:txBody>
      </p:sp>
    </p:spTree>
    <p:custDataLst>
      <p:tags r:id="rId1"/>
    </p:custDataLst>
    <p:extLst>
      <p:ext uri="{BB962C8B-B14F-4D97-AF65-F5344CB8AC3E}">
        <p14:creationId xmlns:p14="http://schemas.microsoft.com/office/powerpoint/2010/main" val="2978473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9" grpId="0"/>
      <p:bldP spid="21" grpId="0"/>
      <p:bldP spid="23" grpId="0"/>
      <p:bldP spid="24" grpId="0"/>
      <p:bldP spid="2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648A4-2E58-4E14-B9B0-49D7156BF99D}"/>
              </a:ext>
            </a:extLst>
          </p:cNvPr>
          <p:cNvSpPr>
            <a:spLocks noGrp="1"/>
          </p:cNvSpPr>
          <p:nvPr>
            <p:ph type="body" sz="quarter" idx="10"/>
          </p:nvPr>
        </p:nvSpPr>
        <p:spPr>
          <a:xfrm>
            <a:off x="586390" y="1434370"/>
            <a:ext cx="11018520" cy="430887"/>
          </a:xfrm>
        </p:spPr>
        <p:txBody>
          <a:bodyPr/>
          <a:lstStyle/>
          <a:p>
            <a:r>
              <a:rPr lang="en-US"/>
              <a:t>RTO vs RPO</a:t>
            </a:r>
            <a:endParaRPr lang="de-CH"/>
          </a:p>
        </p:txBody>
      </p:sp>
      <p:sp>
        <p:nvSpPr>
          <p:cNvPr id="6" name="Arrow: Right 5">
            <a:extLst>
              <a:ext uri="{FF2B5EF4-FFF2-40B4-BE49-F238E27FC236}">
                <a16:creationId xmlns:a16="http://schemas.microsoft.com/office/drawing/2014/main" id="{8AAD35E5-9304-415B-B1F4-7D4CC97F6AEB}"/>
              </a:ext>
            </a:extLst>
          </p:cNvPr>
          <p:cNvSpPr/>
          <p:nvPr/>
        </p:nvSpPr>
        <p:spPr bwMode="auto">
          <a:xfrm>
            <a:off x="584200" y="3669767"/>
            <a:ext cx="11025188" cy="3177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0CA5BC-FA27-47E0-9EAC-FCD85B822F33}"/>
              </a:ext>
            </a:extLst>
          </p:cNvPr>
          <p:cNvGrpSpPr/>
          <p:nvPr/>
        </p:nvGrpSpPr>
        <p:grpSpPr>
          <a:xfrm>
            <a:off x="5819274" y="3144413"/>
            <a:ext cx="553452" cy="1183522"/>
            <a:chOff x="5819274" y="2744788"/>
            <a:chExt cx="553452" cy="1183522"/>
          </a:xfrm>
        </p:grpSpPr>
        <p:sp>
          <p:nvSpPr>
            <p:cNvPr id="12" name="Multiplication Sign 11">
              <a:extLst>
                <a:ext uri="{FF2B5EF4-FFF2-40B4-BE49-F238E27FC236}">
                  <a16:creationId xmlns:a16="http://schemas.microsoft.com/office/drawing/2014/main" id="{CFB01F19-D8BE-4567-A2DD-386A518A29AB}"/>
                </a:ext>
              </a:extLst>
            </p:cNvPr>
            <p:cNvSpPr/>
            <p:nvPr/>
          </p:nvSpPr>
          <p:spPr bwMode="auto">
            <a:xfrm>
              <a:off x="5819274" y="2929689"/>
              <a:ext cx="553452" cy="998621"/>
            </a:xfrm>
            <a:prstGeom prst="mathMultiply">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55558BBF-196C-4C1D-BF7D-0519B97F2E30}"/>
                </a:ext>
              </a:extLst>
            </p:cNvPr>
            <p:cNvCxnSpPr>
              <a:cxnSpLocks/>
            </p:cNvCxnSpPr>
            <p:nvPr/>
          </p:nvCxnSpPr>
          <p:spPr>
            <a:xfrm flipV="1">
              <a:off x="6096000" y="2744788"/>
              <a:ext cx="0" cy="540000"/>
            </a:xfrm>
            <a:prstGeom prst="line">
              <a:avLst/>
            </a:prstGeom>
            <a:ln>
              <a:headEnd type="none" w="lg" len="med"/>
              <a:tailEnd type="none" w="lg" len="med"/>
            </a:ln>
          </p:spPr>
          <p:style>
            <a:lnRef idx="2">
              <a:schemeClr val="accent3"/>
            </a:lnRef>
            <a:fillRef idx="0">
              <a:schemeClr val="accent3"/>
            </a:fillRef>
            <a:effectRef idx="1">
              <a:schemeClr val="accent3"/>
            </a:effectRef>
            <a:fontRef idx="minor">
              <a:schemeClr val="tx1"/>
            </a:fontRef>
          </p:style>
        </p:cxnSp>
      </p:grpSp>
      <p:grpSp>
        <p:nvGrpSpPr>
          <p:cNvPr id="17" name="Group 16">
            <a:extLst>
              <a:ext uri="{FF2B5EF4-FFF2-40B4-BE49-F238E27FC236}">
                <a16:creationId xmlns:a16="http://schemas.microsoft.com/office/drawing/2014/main" id="{BB4744FA-0F95-4D0C-A4CF-2FE63308EBA9}"/>
              </a:ext>
            </a:extLst>
          </p:cNvPr>
          <p:cNvGrpSpPr/>
          <p:nvPr/>
        </p:nvGrpSpPr>
        <p:grpSpPr>
          <a:xfrm>
            <a:off x="8758145" y="3144413"/>
            <a:ext cx="219259" cy="789974"/>
            <a:chOff x="8758145" y="2744788"/>
            <a:chExt cx="219259" cy="789974"/>
          </a:xfrm>
        </p:grpSpPr>
        <p:sp>
          <p:nvSpPr>
            <p:cNvPr id="11" name="Oval 10">
              <a:extLst>
                <a:ext uri="{FF2B5EF4-FFF2-40B4-BE49-F238E27FC236}">
                  <a16:creationId xmlns:a16="http://schemas.microsoft.com/office/drawing/2014/main" id="{D4E3FF97-88CF-474C-B5C2-FE948EBEE349}"/>
                </a:ext>
              </a:extLst>
            </p:cNvPr>
            <p:cNvSpPr/>
            <p:nvPr/>
          </p:nvSpPr>
          <p:spPr bwMode="auto">
            <a:xfrm>
              <a:off x="875814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E227EE-E8C9-4FC5-BEA2-C877B6BA508C}"/>
                </a:ext>
              </a:extLst>
            </p:cNvPr>
            <p:cNvCxnSpPr/>
            <p:nvPr/>
          </p:nvCxnSpPr>
          <p:spPr>
            <a:xfrm flipV="1">
              <a:off x="8867775" y="274478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66E5942-2A03-4561-8277-73C8D79AAD26}"/>
              </a:ext>
            </a:extLst>
          </p:cNvPr>
          <p:cNvSpPr txBox="1"/>
          <p:nvPr/>
        </p:nvSpPr>
        <p:spPr>
          <a:xfrm>
            <a:off x="5603789" y="2584170"/>
            <a:ext cx="984422"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0000"/>
                </a:solidFill>
                <a:effectLst/>
                <a:uLnTx/>
                <a:uFillTx/>
                <a:latin typeface="Segoe UI"/>
                <a:ea typeface="+mn-ea"/>
                <a:cs typeface="+mn-cs"/>
              </a:rPr>
              <a:t>Disaster Hits</a:t>
            </a:r>
          </a:p>
        </p:txBody>
      </p:sp>
      <p:sp>
        <p:nvSpPr>
          <p:cNvPr id="21" name="TextBox 20">
            <a:extLst>
              <a:ext uri="{FF2B5EF4-FFF2-40B4-BE49-F238E27FC236}">
                <a16:creationId xmlns:a16="http://schemas.microsoft.com/office/drawing/2014/main" id="{E31C926B-5E0B-4485-91DC-BCE05B4AE124}"/>
              </a:ext>
            </a:extLst>
          </p:cNvPr>
          <p:cNvSpPr txBox="1"/>
          <p:nvPr/>
        </p:nvSpPr>
        <p:spPr>
          <a:xfrm>
            <a:off x="11164330" y="3902765"/>
            <a:ext cx="32745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ime</a:t>
            </a:r>
          </a:p>
        </p:txBody>
      </p:sp>
      <p:sp>
        <p:nvSpPr>
          <p:cNvPr id="22" name="Left Brace 21">
            <a:extLst>
              <a:ext uri="{FF2B5EF4-FFF2-40B4-BE49-F238E27FC236}">
                <a16:creationId xmlns:a16="http://schemas.microsoft.com/office/drawing/2014/main" id="{4DC56439-0E99-4199-B281-49D04D0B385B}"/>
              </a:ext>
            </a:extLst>
          </p:cNvPr>
          <p:cNvSpPr/>
          <p:nvPr/>
        </p:nvSpPr>
        <p:spPr>
          <a:xfrm rot="16200000">
            <a:off x="4513413" y="3068831"/>
            <a:ext cx="296563" cy="2674937"/>
          </a:xfrm>
          <a:prstGeom prst="leftBrace">
            <a:avLst>
              <a:gd name="adj1" fmla="val 8333"/>
              <a:gd name="adj2" fmla="val 5166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eft Brace 22">
            <a:extLst>
              <a:ext uri="{FF2B5EF4-FFF2-40B4-BE49-F238E27FC236}">
                <a16:creationId xmlns:a16="http://schemas.microsoft.com/office/drawing/2014/main" id="{4BEA74EB-0B4B-48D2-BA80-134CB85C08E4}"/>
              </a:ext>
            </a:extLst>
          </p:cNvPr>
          <p:cNvSpPr/>
          <p:nvPr/>
        </p:nvSpPr>
        <p:spPr>
          <a:xfrm rot="16200000">
            <a:off x="7382025" y="3070291"/>
            <a:ext cx="296563" cy="2674937"/>
          </a:xfrm>
          <a:prstGeom prst="leftBrace">
            <a:avLst>
              <a:gd name="adj1" fmla="val 8333"/>
              <a:gd name="adj2" fmla="val 4852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AE1420ED-C397-4728-882E-02F865863599}"/>
              </a:ext>
            </a:extLst>
          </p:cNvPr>
          <p:cNvCxnSpPr>
            <a:cxnSpLocks/>
          </p:cNvCxnSpPr>
          <p:nvPr/>
        </p:nvCxnSpPr>
        <p:spPr>
          <a:xfrm>
            <a:off x="6096000" y="3963917"/>
            <a:ext cx="0" cy="177288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F47A61D5-6C7C-4D5E-8755-1BB4663DCE77}"/>
              </a:ext>
            </a:extLst>
          </p:cNvPr>
          <p:cNvSpPr txBox="1"/>
          <p:nvPr/>
        </p:nvSpPr>
        <p:spPr>
          <a:xfrm>
            <a:off x="2646725" y="2712613"/>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Point Objective (RPO)</a:t>
            </a:r>
          </a:p>
        </p:txBody>
      </p:sp>
      <p:sp>
        <p:nvSpPr>
          <p:cNvPr id="32" name="TextBox 31">
            <a:extLst>
              <a:ext uri="{FF2B5EF4-FFF2-40B4-BE49-F238E27FC236}">
                <a16:creationId xmlns:a16="http://schemas.microsoft.com/office/drawing/2014/main" id="{394C293D-F162-42E7-B42F-0FF14ECCA0E9}"/>
              </a:ext>
            </a:extLst>
          </p:cNvPr>
          <p:cNvSpPr txBox="1"/>
          <p:nvPr/>
        </p:nvSpPr>
        <p:spPr>
          <a:xfrm>
            <a:off x="8190275" y="2713526"/>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Time Objective (RTO)</a:t>
            </a:r>
          </a:p>
        </p:txBody>
      </p:sp>
      <p:grpSp>
        <p:nvGrpSpPr>
          <p:cNvPr id="37" name="Group 36">
            <a:extLst>
              <a:ext uri="{FF2B5EF4-FFF2-40B4-BE49-F238E27FC236}">
                <a16:creationId xmlns:a16="http://schemas.microsoft.com/office/drawing/2014/main" id="{40860F56-1DE1-4EE5-AE42-62BA5285865E}"/>
              </a:ext>
            </a:extLst>
          </p:cNvPr>
          <p:cNvGrpSpPr/>
          <p:nvPr/>
        </p:nvGrpSpPr>
        <p:grpSpPr>
          <a:xfrm>
            <a:off x="3214595" y="3130793"/>
            <a:ext cx="219259" cy="2606007"/>
            <a:chOff x="3214595" y="2731168"/>
            <a:chExt cx="219259" cy="2606007"/>
          </a:xfrm>
        </p:grpSpPr>
        <p:grpSp>
          <p:nvGrpSpPr>
            <p:cNvPr id="19" name="Group 18">
              <a:extLst>
                <a:ext uri="{FF2B5EF4-FFF2-40B4-BE49-F238E27FC236}">
                  <a16:creationId xmlns:a16="http://schemas.microsoft.com/office/drawing/2014/main" id="{512ECADD-9AB0-4118-BFBD-34969F0B477D}"/>
                </a:ext>
              </a:extLst>
            </p:cNvPr>
            <p:cNvGrpSpPr/>
            <p:nvPr/>
          </p:nvGrpSpPr>
          <p:grpSpPr>
            <a:xfrm>
              <a:off x="3214595" y="2731168"/>
              <a:ext cx="219259" cy="803594"/>
              <a:chOff x="3214595" y="2731168"/>
              <a:chExt cx="219259" cy="803594"/>
            </a:xfrm>
          </p:grpSpPr>
          <p:sp>
            <p:nvSpPr>
              <p:cNvPr id="7" name="Oval 6">
                <a:extLst>
                  <a:ext uri="{FF2B5EF4-FFF2-40B4-BE49-F238E27FC236}">
                    <a16:creationId xmlns:a16="http://schemas.microsoft.com/office/drawing/2014/main" id="{56118171-DB29-4E37-A0D0-76E4C1F86B90}"/>
                  </a:ext>
                </a:extLst>
              </p:cNvPr>
              <p:cNvSpPr/>
              <p:nvPr/>
            </p:nvSpPr>
            <p:spPr bwMode="auto">
              <a:xfrm>
                <a:off x="321459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CF699246-E361-4CED-8048-B8B581C1B2F8}"/>
                  </a:ext>
                </a:extLst>
              </p:cNvPr>
              <p:cNvCxnSpPr>
                <a:stCxn id="7" idx="0"/>
              </p:cNvCxnSpPr>
              <p:nvPr/>
            </p:nvCxnSpPr>
            <p:spPr>
              <a:xfrm flipV="1">
                <a:off x="3324225" y="273116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A6F64D98-6F8D-4C47-AD8F-6CEA655AFCD5}"/>
                </a:ext>
              </a:extLst>
            </p:cNvPr>
            <p:cNvCxnSpPr>
              <a:cxnSpLocks/>
            </p:cNvCxnSpPr>
            <p:nvPr/>
          </p:nvCxnSpPr>
          <p:spPr>
            <a:xfrm flipH="1" flipV="1">
              <a:off x="3322865" y="3533993"/>
              <a:ext cx="1360" cy="1803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cxnSp>
        <p:nvCxnSpPr>
          <p:cNvPr id="42" name="Straight Connector 41">
            <a:extLst>
              <a:ext uri="{FF2B5EF4-FFF2-40B4-BE49-F238E27FC236}">
                <a16:creationId xmlns:a16="http://schemas.microsoft.com/office/drawing/2014/main" id="{7194A292-D85A-4D68-ADE3-2A6961F73560}"/>
              </a:ext>
            </a:extLst>
          </p:cNvPr>
          <p:cNvCxnSpPr>
            <a:cxnSpLocks/>
          </p:cNvCxnSpPr>
          <p:nvPr/>
        </p:nvCxnSpPr>
        <p:spPr>
          <a:xfrm flipV="1">
            <a:off x="8867775" y="3933617"/>
            <a:ext cx="1" cy="1803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9F03368D-B049-4A26-9441-B5CA7738FBED}"/>
              </a:ext>
            </a:extLst>
          </p:cNvPr>
          <p:cNvCxnSpPr>
            <a:cxnSpLocks/>
          </p:cNvCxnSpPr>
          <p:nvPr/>
        </p:nvCxnSpPr>
        <p:spPr>
          <a:xfrm flipV="1">
            <a:off x="3324226"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6510D5F-C653-49C7-9AF9-10E6E55870BD}"/>
              </a:ext>
            </a:extLst>
          </p:cNvPr>
          <p:cNvCxnSpPr>
            <a:cxnSpLocks/>
          </p:cNvCxnSpPr>
          <p:nvPr/>
        </p:nvCxnSpPr>
        <p:spPr>
          <a:xfrm flipV="1">
            <a:off x="8867775"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C34C233B-ADE6-4CFD-A553-895044F5D3DC}"/>
              </a:ext>
            </a:extLst>
          </p:cNvPr>
          <p:cNvSpPr txBox="1"/>
          <p:nvPr/>
        </p:nvSpPr>
        <p:spPr>
          <a:xfrm>
            <a:off x="3324225" y="4574075"/>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ata Lost</a:t>
            </a:r>
          </a:p>
        </p:txBody>
      </p:sp>
      <p:sp>
        <p:nvSpPr>
          <p:cNvPr id="47" name="TextBox 46">
            <a:extLst>
              <a:ext uri="{FF2B5EF4-FFF2-40B4-BE49-F238E27FC236}">
                <a16:creationId xmlns:a16="http://schemas.microsoft.com/office/drawing/2014/main" id="{24602780-E975-497D-B769-8510D53D4B80}"/>
              </a:ext>
            </a:extLst>
          </p:cNvPr>
          <p:cNvSpPr txBox="1"/>
          <p:nvPr/>
        </p:nvSpPr>
        <p:spPr>
          <a:xfrm>
            <a:off x="6096000" y="4637032"/>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owntime</a:t>
            </a:r>
          </a:p>
        </p:txBody>
      </p:sp>
      <p:cxnSp>
        <p:nvCxnSpPr>
          <p:cNvPr id="54" name="Straight Connector 53">
            <a:extLst>
              <a:ext uri="{FF2B5EF4-FFF2-40B4-BE49-F238E27FC236}">
                <a16:creationId xmlns:a16="http://schemas.microsoft.com/office/drawing/2014/main" id="{72CC67D1-B60B-4D25-9493-8FE1E674D565}"/>
              </a:ext>
            </a:extLst>
          </p:cNvPr>
          <p:cNvCxnSpPr>
            <a:cxnSpLocks/>
          </p:cNvCxnSpPr>
          <p:nvPr/>
        </p:nvCxnSpPr>
        <p:spPr>
          <a:xfrm>
            <a:off x="6097524" y="1139641"/>
            <a:ext cx="0" cy="1028884"/>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2D6BD3E2-B2BC-425A-ABAF-C30882D84FF0}"/>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33" name="Straight Connector 32">
            <a:extLst>
              <a:ext uri="{FF2B5EF4-FFF2-40B4-BE49-F238E27FC236}">
                <a16:creationId xmlns:a16="http://schemas.microsoft.com/office/drawing/2014/main" id="{B1EDFD4F-E075-4B24-B1F5-90255B54055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62221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0FC87-B7F7-440A-B64B-B3685F15B5DA}"/>
              </a:ext>
            </a:extLst>
          </p:cNvPr>
          <p:cNvSpPr>
            <a:spLocks noGrp="1"/>
          </p:cNvSpPr>
          <p:nvPr>
            <p:ph sz="quarter" idx="10"/>
          </p:nvPr>
        </p:nvSpPr>
        <p:spPr>
          <a:xfrm>
            <a:off x="584200" y="1333500"/>
            <a:ext cx="11018838" cy="4154984"/>
          </a:xfrm>
        </p:spPr>
        <p:txBody>
          <a:bodyPr/>
          <a:lstStyle/>
          <a:p>
            <a:pPr marL="0" indent="0">
              <a:buNone/>
            </a:pPr>
            <a:r>
              <a:rPr lang="en-US" sz="2400" dirty="0"/>
              <a:t>Resilience vs Disaster Recovery</a:t>
            </a:r>
          </a:p>
          <a:p>
            <a:r>
              <a:rPr lang="en-US" sz="2400" dirty="0"/>
              <a:t>Resilience and Disaster Recovery (DR) are not the same.</a:t>
            </a:r>
          </a:p>
          <a:p>
            <a:r>
              <a:rPr lang="en-US" sz="2400" dirty="0"/>
              <a:t>Customers may have different goals for ongoing resilience than infrequent disaster responses.</a:t>
            </a:r>
          </a:p>
          <a:p>
            <a:r>
              <a:rPr lang="en-US" sz="2400" dirty="0"/>
              <a:t>Don’t assume one solution for both unless they have the same goal</a:t>
            </a:r>
          </a:p>
          <a:p>
            <a:pPr lvl="1"/>
            <a:r>
              <a:rPr lang="en-US" sz="1800" dirty="0"/>
              <a:t>DR frequently has geographic separation requirements which are difficult to deal with in live transactional systems due to imposed network latency.</a:t>
            </a:r>
          </a:p>
          <a:p>
            <a:r>
              <a:rPr lang="en-US" sz="2400" dirty="0"/>
              <a:t>For both resilience and DR, it doesn’t exist if it isn’t tested</a:t>
            </a:r>
          </a:p>
          <a:p>
            <a:pPr lvl="1"/>
            <a:r>
              <a:rPr lang="en-US" sz="1800" dirty="0"/>
              <a:t>Fault injection is a good approach for all reliability measures.</a:t>
            </a:r>
          </a:p>
          <a:p>
            <a:pPr lvl="1"/>
            <a:r>
              <a:rPr lang="en-US" sz="1800" dirty="0"/>
              <a:t>Assume DR must be tested on a live system.  </a:t>
            </a:r>
          </a:p>
          <a:p>
            <a:pPr lvl="2"/>
            <a:r>
              <a:rPr lang="en-US" sz="1400" dirty="0"/>
              <a:t>Often regulatory requirements will mandate this so testability without incurring business impact should be a goal.</a:t>
            </a:r>
          </a:p>
        </p:txBody>
      </p:sp>
      <p:sp>
        <p:nvSpPr>
          <p:cNvPr id="6" name="Rectangle 5">
            <a:extLst>
              <a:ext uri="{FF2B5EF4-FFF2-40B4-BE49-F238E27FC236}">
                <a16:creationId xmlns:a16="http://schemas.microsoft.com/office/drawing/2014/main" id="{45B54B4C-2B13-4E28-903C-D3503FEA345B}"/>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7" name="Straight Connector 6">
            <a:extLst>
              <a:ext uri="{FF2B5EF4-FFF2-40B4-BE49-F238E27FC236}">
                <a16:creationId xmlns:a16="http://schemas.microsoft.com/office/drawing/2014/main" id="{D459FE1E-4D5D-44ED-815C-2725EA72C270}"/>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59030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4956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Review the Reliability Pillar from Well Architected. If it’s not measurable, it’s not actionable. Define the RTO and RPO requirements for each workload; if you can’t then assign a defaul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and plan application operations with reduced functionality or degraded performance during an outag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workload suitability for Availability Zones or availability sets. Not all Avail. Zones are equal – always measure latenc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consistent backups for apps and data?</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Prevent an “</a:t>
            </a:r>
            <a:r>
              <a:rPr lang="en-US" sz="2000" spc="-50" dirty="0" err="1">
                <a:ln w="3175">
                  <a:noFill/>
                </a:ln>
                <a:solidFill>
                  <a:srgbClr val="FFFFFF"/>
                </a:solidFill>
                <a:latin typeface="Segoe UI Semibold"/>
                <a:cs typeface="Segoe UI" pitchFamily="34" charset="0"/>
              </a:rPr>
              <a:t>Ooops</a:t>
            </a:r>
            <a:r>
              <a:rPr lang="en-US" sz="2000" spc="-50" dirty="0">
                <a:ln w="3175">
                  <a:noFill/>
                </a:ln>
                <a:solidFill>
                  <a:srgbClr val="FFFFFF"/>
                </a:solidFill>
                <a:latin typeface="Segoe UI Semibold"/>
                <a:cs typeface="Segoe UI" pitchFamily="34" charset="0"/>
              </a:rPr>
              <a:t>!” moment. Use resource locks to prevent accidental deletion of critical shared services. Prevention is better than c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mploy ASR for Azure-to-Azure VM DR scenario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native PaaS DR capabilities and Azure-native backup capabiliti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multiple regions and peering locations for ExpressRoute connectiv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Continuity and Disaster Recovery</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Considerations and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91166745"/>
      </p:ext>
    </p:extLst>
  </p:cSld>
  <p:clrMapOvr>
    <a:overrideClrMapping bg1="dk1" tx1="lt1" bg2="dk2" tx2="lt2" accent1="accent1" accent2="accent2" accent3="accent3" accent4="accent4" accent5="accent5" accent6="accent6" hlink="hlink" folHlink="folHlink"/>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708739" y="4052359"/>
            <a:ext cx="7013886" cy="1277273"/>
          </a:xfrm>
          <a:prstGeom prst="rect">
            <a:avLst/>
          </a:prstGeom>
          <a:noFill/>
        </p:spPr>
        <p:txBody>
          <a:bodyPr wrap="square">
            <a:spAutoFit/>
          </a:bodyPr>
          <a:lstStyle/>
          <a:p>
            <a:pPr algn="l">
              <a:spcBef>
                <a:spcPts val="600"/>
              </a:spcBef>
            </a:pPr>
            <a:r>
              <a:rPr lang="en-US" b="0" i="0" dirty="0">
                <a:solidFill>
                  <a:srgbClr val="171717"/>
                </a:solidFill>
                <a:effectLst/>
                <a:latin typeface="Segoe UI" panose="020B0502040204020203" pitchFamily="34" charset="0"/>
              </a:rPr>
              <a:t>Azure governance establishes the tooling needed to support cloud governance, compliance auditing, and automated guardrails.</a:t>
            </a:r>
          </a:p>
          <a:p>
            <a:pPr algn="l">
              <a:spcBef>
                <a:spcPts val="600"/>
              </a:spcBef>
            </a:pPr>
            <a:r>
              <a:rPr lang="en-US" b="0" i="0" dirty="0">
                <a:solidFill>
                  <a:srgbClr val="171717"/>
                </a:solidFill>
                <a:effectLst/>
                <a:latin typeface="Segoe UI" panose="020B0502040204020203" pitchFamily="34" charset="0"/>
              </a:rPr>
              <a:t>Governance provides mechanisms and processes for maintaining control over platforms, applications, and resources in Az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Tree>
    <p:extLst>
      <p:ext uri="{BB962C8B-B14F-4D97-AF65-F5344CB8AC3E}">
        <p14:creationId xmlns:p14="http://schemas.microsoft.com/office/powerpoint/2010/main" val="342661385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953583" y="3187035"/>
            <a:ext cx="10824882" cy="175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hange advisory review boards might hinder </a:t>
            </a:r>
            <a:r>
              <a:rPr lang="en-US" sz="2000" spc="-50">
                <a:ln w="3175">
                  <a:noFill/>
                </a:ln>
                <a:solidFill>
                  <a:srgbClr val="FFFFFF"/>
                </a:solidFill>
                <a:latin typeface="Segoe UI Semibold"/>
                <a:cs typeface="Segoe UI" pitchFamily="34" charset="0"/>
              </a:rPr>
              <a:t>an organization’s </a:t>
            </a:r>
            <a:r>
              <a:rPr lang="en-US" sz="2000" spc="-50" dirty="0">
                <a:ln w="3175">
                  <a:noFill/>
                </a:ln>
                <a:solidFill>
                  <a:srgbClr val="FFFFFF"/>
                </a:solidFill>
                <a:latin typeface="Segoe UI Semibold"/>
                <a:cs typeface="Segoe UI" pitchFamily="34" charset="0"/>
              </a:rPr>
              <a:t>innovation and business agil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Policy increases workload efficiency by replacing such reviews with automated guardrails and adherence audits.</a:t>
            </a:r>
          </a:p>
          <a:p>
            <a:pPr lvl="0" defTabSz="914102" fontAlgn="base">
              <a:lnSpc>
                <a:spcPct val="90000"/>
              </a:lnSpc>
              <a:spcBef>
                <a:spcPts val="588"/>
              </a:spcBef>
              <a:spcAft>
                <a:spcPct val="0"/>
              </a:spcAf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Going faster, whilst maintaining control and stability.</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221375824"/>
      </p:ext>
    </p:extLst>
  </p:cSld>
  <p:clrMapOvr>
    <a:overrideClrMapping bg1="dk1" tx1="lt1" bg2="dk2" tx2="lt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45568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termine what Azure policies are needed based on your business controls or compliance regulations. Use the policies included in the ALZ Accelerator as a sta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How is the organization’s cost and recharging model structured? What are the key data points required to accurately see cloud services spend? How will this be reflected in Tag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Cost Management + Billing might help support ongoing governance cost and spending in Azure, or other </a:t>
            </a:r>
            <a:r>
              <a:rPr lang="en-US" sz="2000" spc="-50" dirty="0" err="1">
                <a:ln w="3175">
                  <a:noFill/>
                </a:ln>
                <a:solidFill>
                  <a:srgbClr val="FFFFFF"/>
                </a:solidFill>
                <a:latin typeface="Segoe UI Semibold"/>
                <a:cs typeface="Segoe UI" pitchFamily="34" charset="0"/>
              </a:rPr>
              <a:t>multicloud</a:t>
            </a:r>
            <a:r>
              <a:rPr lang="en-US" sz="2000" spc="-50" dirty="0">
                <a:ln w="3175">
                  <a:noFill/>
                </a:ln>
                <a:solidFill>
                  <a:srgbClr val="FFFFFF"/>
                </a:solidFill>
                <a:latin typeface="Segoe UI Semibold"/>
                <a:cs typeface="Segoe UI" pitchFamily="34" charset="0"/>
              </a:rPr>
              <a:t> environmen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re the groups of resources in the environment? These groups can share configuration characteristics that might be required to help stay consiste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tools and guardrails need to be enforced across the environment as part of a security baseline? And who might be notified when deviations are fou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might have access to audit logs for identity and access management? Who might be notified when suspicious sign-in events occur? Consider using AAD reports to govern activit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a:ln w="3175">
                  <a:noFill/>
                </a:ln>
                <a:solidFill>
                  <a:srgbClr val="FFFFFF"/>
                </a:solidFill>
                <a:latin typeface="Segoe UI Semibold"/>
                <a:cs typeface="Segoe UI" pitchFamily="34" charset="0"/>
              </a:rPr>
              <a:t>Consideration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663082499"/>
      </p:ext>
    </p:extLst>
  </p:cSld>
  <p:clrMapOvr>
    <a:overrideClrMapping bg1="dk1" tx1="lt1" bg2="dk2" tx2="lt2" accent1="accent1" accent2="accent2" accent3="accent3" accent4="accent4" accent5="accent5" accent6="accent6" hlink="hlink" folHlink="folHlink"/>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2950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dentify required Azure tags and use the append policy mode to enforce usage. Use the tagging strategy article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p regulatory and compliance requirements to Azure Policy definitions and Azure role assignments. Establish Azure Policy definitions at the intermediate root management group as they might be assigned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built-in policies to minimize operational overhea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Cost Management + Billing to implement financial oversight on resources in your environment. Use tags in Azure to append metadata to resources, which might enable granular analysis of spend (such as cost center, environment, project, owner, etc.).</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846288735"/>
      </p:ext>
    </p:extLst>
  </p:cSld>
  <p:clrMapOvr>
    <a:overrideClrMapping bg1="dk1" tx1="lt1" bg2="dk2" tx2="lt2" accent1="accent1" accent2="accent2" accent3="accent3" accent4="accent4" accent5="accent5" accent6="accent6" hlink="hlink" folHlink="folHlink"/>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621848" y="4648820"/>
            <a:ext cx="7013886" cy="923330"/>
          </a:xfrm>
          <a:prstGeom prst="rect">
            <a:avLst/>
          </a:prstGeom>
          <a:noFill/>
        </p:spPr>
        <p:txBody>
          <a:bodyPr wrap="square">
            <a:spAutoFit/>
          </a:bodyPr>
          <a:lstStyle/>
          <a:p>
            <a:pPr algn="l"/>
            <a:r>
              <a:rPr lang="en-US" b="0" i="0" dirty="0">
                <a:solidFill>
                  <a:srgbClr val="171717"/>
                </a:solidFill>
                <a:effectLst/>
                <a:latin typeface="Segoe UI" panose="020B0502040204020203" pitchFamily="34" charset="0"/>
              </a:rPr>
              <a:t>Platform automation and DevOps evaluate opportunities to modernize your approach to environmental deployment with infrastructure as code options.</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9259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cerning central teams, consider using pipelines for continuous integration and continuous deployment.</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ipelines might be used to manage policy and role definitions, policy assignments, management group hierarchies, and subscriptions. These pipelines help ensure that you can operationally manage multiple subscriptions and conform to a desired state.</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blanket application of a DevOps model won't instantly establish capable DevOps team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zure landing zone accelerator can help integrate continuous integration and continuous deployment (CI/CD) pipelines into the environment using GitHub with GitHub Actions. The portal process guides you through the steps to set up the integr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y integrating CI/CD pipelines into the environment, platform resources can be managed as code in a repositor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30633196"/>
      </p:ext>
    </p:extLst>
  </p:cSld>
  <p:clrMapOvr>
    <a:overrideClrMapping bg1="dk1" tx1="lt1" bg2="dk2" tx2="lt2" accent1="accent1" accent2="accent2" accent3="accent3" accent4="accent4" accent5="accent5" accent6="accent6" hlink="hlink" folHlink="folHlink"/>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641FB-58A8-C0BF-4176-5E517D6622C3}"/>
              </a:ext>
            </a:extLst>
          </p:cNvPr>
          <p:cNvSpPr>
            <a:spLocks noGrp="1"/>
          </p:cNvSpPr>
          <p:nvPr>
            <p:ph type="title"/>
          </p:nvPr>
        </p:nvSpPr>
        <p:spPr>
          <a:xfrm>
            <a:off x="442765" y="156677"/>
            <a:ext cx="11306469" cy="397545"/>
          </a:xfrm>
        </p:spPr>
        <p:txBody>
          <a:bodyPr/>
          <a:lstStyle/>
          <a:p>
            <a:r>
              <a:rPr lang="en-US" dirty="0"/>
              <a:t>Azure Landing Zones Resources</a:t>
            </a:r>
          </a:p>
        </p:txBody>
      </p:sp>
      <p:sp>
        <p:nvSpPr>
          <p:cNvPr id="7" name="TextBox 6">
            <a:extLst>
              <a:ext uri="{FF2B5EF4-FFF2-40B4-BE49-F238E27FC236}">
                <a16:creationId xmlns:a16="http://schemas.microsoft.com/office/drawing/2014/main" id="{82C666AB-6E17-BA0A-11B7-9E91640EB063}"/>
              </a:ext>
            </a:extLst>
          </p:cNvPr>
          <p:cNvSpPr txBox="1"/>
          <p:nvPr/>
        </p:nvSpPr>
        <p:spPr>
          <a:xfrm>
            <a:off x="312635" y="1050545"/>
            <a:ext cx="8621719" cy="389645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mplete the MS Learning Path: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2" tooltip="https://docs.microsoft.com/en-us/learn/paths/enterprise-scale-architecture/"/>
              </a:rPr>
              <a:t>Create an Enterprise-Scale Architecture on Azure</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Review the Azure landing zone </a:t>
            </a:r>
            <a:r>
              <a:rPr lang="en-US" dirty="0">
                <a:solidFill>
                  <a:srgbClr val="5B5FC7"/>
                </a:solidFill>
                <a:latin typeface="Calibri" panose="020F0502020204030204" pitchFamily="34" charset="0"/>
                <a:hlinkClick r:id="rId3"/>
              </a:rPr>
              <a:t>Architecture guidance</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Explore the Azure landing zone </a:t>
            </a: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hlinkClick r:id="rId4"/>
              </a:rPr>
              <a:t>Implementation options</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j-lt"/>
                <a:cs typeface="Segoe UI Semibold"/>
              </a:rPr>
              <a:t>Share your </a:t>
            </a:r>
            <a:r>
              <a:rPr kumimoji="0" lang="en-US" sz="4000" b="0" i="0" u="none" strike="noStrike" kern="1200" cap="none" spc="0" normalizeH="0" baseline="0" noProof="0" dirty="0">
                <a:ln>
                  <a:noFill/>
                </a:ln>
                <a:solidFill>
                  <a:srgbClr val="000000"/>
                </a:solidFill>
                <a:effectLst/>
                <a:uLnTx/>
                <a:uFillTx/>
                <a:latin typeface="Segoe UI"/>
                <a:ea typeface="+mj-lt"/>
                <a:cs typeface="Segoe UI Semibold"/>
              </a:rPr>
              <a:t>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New Azure Landing Zones Surv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Semibold"/>
                <a:hlinkClick r:id="rId5"/>
              </a:rPr>
              <a:t>https://aka.ms/alz/survey</a:t>
            </a:r>
            <a:endParaRPr kumimoji="0" lang="en-US" sz="2000" b="0" i="0" u="none" strike="noStrike" kern="1200" cap="none" spc="0" normalizeH="0" baseline="0" noProof="0" dirty="0">
              <a:ln>
                <a:noFill/>
              </a:ln>
              <a:solidFill>
                <a:srgbClr val="000000"/>
              </a:solidFill>
              <a:effectLst/>
              <a:uLnTx/>
              <a:uFillTx/>
              <a:latin typeface="Segoe UI"/>
              <a:ea typeface="+mj-lt"/>
              <a:cs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Issues on </a:t>
            </a:r>
            <a:r>
              <a:rPr kumimoji="0" lang="en-US" sz="2000" b="0" i="0" u="none" strike="noStrike" kern="1200" cap="none" spc="0" normalizeH="0" baseline="0" noProof="0" dirty="0" err="1">
                <a:ln>
                  <a:noFill/>
                </a:ln>
                <a:solidFill>
                  <a:srgbClr val="000000"/>
                </a:solidFill>
                <a:effectLst/>
                <a:uLnTx/>
                <a:uFillTx/>
                <a:latin typeface="Segoe UI"/>
                <a:ea typeface="+mj-lt"/>
                <a:cs typeface="Segoe UI"/>
              </a:rPr>
              <a:t>Github</a:t>
            </a:r>
            <a:endParaRPr kumimoji="0" lang="en-US" sz="2000" b="0" i="0" u="none" strike="noStrike" kern="1200" cap="none" spc="0" normalizeH="0" baseline="0" noProof="0" dirty="0">
              <a:ln>
                <a:noFill/>
              </a:ln>
              <a:solidFill>
                <a:srgbClr val="000000"/>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6"/>
              </a:rPr>
              <a:t>https://aka.ms/enterprisescale</a:t>
            </a:r>
            <a:b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b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t>https://aka.ms/alz/bicep</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8"/>
              </a:rPr>
              <a:t>https://aka.ms/alz/tf</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p:txBody>
      </p:sp>
      <p:sp>
        <p:nvSpPr>
          <p:cNvPr id="11" name="Rectangle 2">
            <a:extLst>
              <a:ext uri="{FF2B5EF4-FFF2-40B4-BE49-F238E27FC236}">
                <a16:creationId xmlns:a16="http://schemas.microsoft.com/office/drawing/2014/main" id="{59F73FDD-D408-86A1-ADA7-3734EFA236BA}"/>
              </a:ext>
            </a:extLst>
          </p:cNvPr>
          <p:cNvSpPr>
            <a:spLocks noChangeArrowheads="1"/>
          </p:cNvSpPr>
          <p:nvPr/>
        </p:nvSpPr>
        <p:spPr bwMode="auto">
          <a:xfrm>
            <a:off x="2057660" y="29491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4" name="Picture 3">
            <a:extLst>
              <a:ext uri="{FF2B5EF4-FFF2-40B4-BE49-F238E27FC236}">
                <a16:creationId xmlns:a16="http://schemas.microsoft.com/office/drawing/2014/main" id="{AE65BA1D-B166-4C1F-00CA-C418516560F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319530" y="4353619"/>
            <a:ext cx="2087656" cy="2138706"/>
          </a:xfrm>
          <a:prstGeom prst="rect">
            <a:avLst/>
          </a:prstGeom>
        </p:spPr>
      </p:pic>
    </p:spTree>
    <p:extLst>
      <p:ext uri="{BB962C8B-B14F-4D97-AF65-F5344CB8AC3E}">
        <p14:creationId xmlns:p14="http://schemas.microsoft.com/office/powerpoint/2010/main" val="105377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sp>
        <p:nvSpPr>
          <p:cNvPr id="11" name="Text Placeholder 2">
            <a:extLst>
              <a:ext uri="{FF2B5EF4-FFF2-40B4-BE49-F238E27FC236}">
                <a16:creationId xmlns:a16="http://schemas.microsoft.com/office/drawing/2014/main" id="{2F9FD11A-804D-48BF-AADD-3E72CB325E4F}"/>
              </a:ext>
            </a:extLst>
          </p:cNvPr>
          <p:cNvSpPr txBox="1">
            <a:spLocks/>
          </p:cNvSpPr>
          <p:nvPr/>
        </p:nvSpPr>
        <p:spPr>
          <a:xfrm>
            <a:off x="455995"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house</a:t>
            </a:r>
          </a:p>
        </p:txBody>
      </p:sp>
      <p:sp>
        <p:nvSpPr>
          <p:cNvPr id="12" name="Text Placeholder 3">
            <a:extLst>
              <a:ext uri="{FF2B5EF4-FFF2-40B4-BE49-F238E27FC236}">
                <a16:creationId xmlns:a16="http://schemas.microsoft.com/office/drawing/2014/main" id="{35BCAFAC-4BE4-40E8-B0F9-BCD654A481C2}"/>
              </a:ext>
            </a:extLst>
          </p:cNvPr>
          <p:cNvSpPr txBox="1">
            <a:spLocks/>
          </p:cNvSpPr>
          <p:nvPr/>
        </p:nvSpPr>
        <p:spPr>
          <a:xfrm>
            <a:off x="8144083"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bridge</a:t>
            </a:r>
          </a:p>
        </p:txBody>
      </p:sp>
      <p:sp>
        <p:nvSpPr>
          <p:cNvPr id="13" name="Text Placeholder 4">
            <a:extLst>
              <a:ext uri="{FF2B5EF4-FFF2-40B4-BE49-F238E27FC236}">
                <a16:creationId xmlns:a16="http://schemas.microsoft.com/office/drawing/2014/main" id="{D2A6A2A2-BB0A-45A4-A4B8-0A6CD94314EC}"/>
              </a:ext>
            </a:extLst>
          </p:cNvPr>
          <p:cNvSpPr txBox="1">
            <a:spLocks/>
          </p:cNvSpPr>
          <p:nvPr/>
        </p:nvSpPr>
        <p:spPr>
          <a:xfrm>
            <a:off x="4303152"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stadium</a:t>
            </a:r>
          </a:p>
        </p:txBody>
      </p:sp>
      <p:pic>
        <p:nvPicPr>
          <p:cNvPr id="2" name="Picture 1">
            <a:extLst>
              <a:ext uri="{FF2B5EF4-FFF2-40B4-BE49-F238E27FC236}">
                <a16:creationId xmlns:a16="http://schemas.microsoft.com/office/drawing/2014/main" id="{942A5241-8388-41FA-B08C-DA59DB6724E5}"/>
              </a:ext>
            </a:extLst>
          </p:cNvPr>
          <p:cNvPicPr>
            <a:picLocks noChangeAspect="1"/>
          </p:cNvPicPr>
          <p:nvPr/>
        </p:nvPicPr>
        <p:blipFill rotWithShape="1">
          <a:blip r:embed="rId4"/>
          <a:srcRect t="7742" b="2746"/>
          <a:stretch/>
        </p:blipFill>
        <p:spPr>
          <a:xfrm>
            <a:off x="8059193" y="2241549"/>
            <a:ext cx="3773878" cy="2241062"/>
          </a:xfrm>
          <a:prstGeom prst="rect">
            <a:avLst/>
          </a:prstGeom>
          <a:ln>
            <a:noFill/>
          </a:ln>
          <a:effectLst/>
        </p:spPr>
      </p:pic>
      <p:pic>
        <p:nvPicPr>
          <p:cNvPr id="3" name="Picture 2">
            <a:extLst>
              <a:ext uri="{FF2B5EF4-FFF2-40B4-BE49-F238E27FC236}">
                <a16:creationId xmlns:a16="http://schemas.microsoft.com/office/drawing/2014/main" id="{CFD7ECAC-03C1-4BD2-B1C7-A063FE494132}"/>
              </a:ext>
            </a:extLst>
          </p:cNvPr>
          <p:cNvPicPr>
            <a:picLocks noChangeAspect="1"/>
          </p:cNvPicPr>
          <p:nvPr/>
        </p:nvPicPr>
        <p:blipFill>
          <a:blip r:embed="rId5"/>
          <a:stretch>
            <a:fillRect/>
          </a:stretch>
        </p:blipFill>
        <p:spPr>
          <a:xfrm>
            <a:off x="222655" y="2252689"/>
            <a:ext cx="3778349" cy="2241062"/>
          </a:xfrm>
          <a:prstGeom prst="rect">
            <a:avLst/>
          </a:prstGeom>
          <a:ln>
            <a:noFill/>
          </a:ln>
          <a:effectLst/>
        </p:spPr>
      </p:pic>
      <p:pic>
        <p:nvPicPr>
          <p:cNvPr id="5" name="Picture 4">
            <a:extLst>
              <a:ext uri="{FF2B5EF4-FFF2-40B4-BE49-F238E27FC236}">
                <a16:creationId xmlns:a16="http://schemas.microsoft.com/office/drawing/2014/main" id="{D2DD0CDA-3FC8-446F-9C97-C1104BC83D28}"/>
              </a:ext>
            </a:extLst>
          </p:cNvPr>
          <p:cNvPicPr>
            <a:picLocks noChangeAspect="1"/>
          </p:cNvPicPr>
          <p:nvPr/>
        </p:nvPicPr>
        <p:blipFill rotWithShape="1">
          <a:blip r:embed="rId6"/>
          <a:srcRect t="5289"/>
          <a:stretch/>
        </p:blipFill>
        <p:spPr>
          <a:xfrm>
            <a:off x="4140924" y="2252688"/>
            <a:ext cx="3778348" cy="2241062"/>
          </a:xfrm>
          <a:prstGeom prst="rect">
            <a:avLst/>
          </a:prstGeom>
          <a:ln>
            <a:noFill/>
          </a:ln>
          <a:effec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anim calcmode="lin" valueType="num">
                                      <p:cBhvr>
                                        <p:cTn id="19" dur="1000" fill="hold"/>
                                        <p:tgtEl>
                                          <p:spTgt spid="5"/>
                                        </p:tgtEl>
                                        <p:attrNameLst>
                                          <p:attrName>ppt_x</p:attrName>
                                        </p:attrNameLst>
                                      </p:cBhvr>
                                      <p:tavLst>
                                        <p:tav tm="0">
                                          <p:val>
                                            <p:strVal val="#ppt_x"/>
                                          </p:val>
                                        </p:tav>
                                        <p:tav tm="100000">
                                          <p:val>
                                            <p:strVal val="#ppt_x"/>
                                          </p:val>
                                        </p:tav>
                                      </p:tavLst>
                                    </p:anim>
                                    <p:anim calcmode="lin" valueType="num">
                                      <p:cBhvr>
                                        <p:cTn id="20" dur="1000" fill="hold"/>
                                        <p:tgtEl>
                                          <p:spTgt spid="5"/>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7" presetClass="entr" presetSubtype="0"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1000"/>
                                        <p:tgtEl>
                                          <p:spTgt spid="2"/>
                                        </p:tgtEl>
                                      </p:cBhvr>
                                    </p:animEffect>
                                    <p:anim calcmode="lin" valueType="num">
                                      <p:cBhvr>
                                        <p:cTn id="30" dur="1000" fill="hold"/>
                                        <p:tgtEl>
                                          <p:spTgt spid="2"/>
                                        </p:tgtEl>
                                        <p:attrNameLst>
                                          <p:attrName>ppt_x</p:attrName>
                                        </p:attrNameLst>
                                      </p:cBhvr>
                                      <p:tavLst>
                                        <p:tav tm="0">
                                          <p:val>
                                            <p:strVal val="#ppt_x"/>
                                          </p:val>
                                        </p:tav>
                                        <p:tav tm="100000">
                                          <p:val>
                                            <p:strVal val="#ppt_x"/>
                                          </p:val>
                                        </p:tav>
                                      </p:tavLst>
                                    </p:anim>
                                    <p:anim calcmode="lin" valueType="num">
                                      <p:cBhvr>
                                        <p:cTn id="31" dur="1000" fill="hold"/>
                                        <p:tgtEl>
                                          <p:spTgt spid="2"/>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6797" y="620828"/>
            <a:ext cx="11304865" cy="402674"/>
          </a:xfrm>
        </p:spPr>
        <p:txBody>
          <a:bodyPr/>
          <a:lstStyle/>
          <a:p>
            <a:r>
              <a:rPr lang="en-GB" sz="3600">
                <a:solidFill>
                  <a:schemeClr val="tx2"/>
                </a:solidFill>
              </a:rPr>
              <a:t>Azure</a:t>
            </a:r>
            <a:r>
              <a:rPr lang="en-GB" sz="3600"/>
              <a:t> landing zones</a:t>
            </a:r>
            <a:endParaRPr lang="en-GB" sz="280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5104" y="3456609"/>
            <a:ext cx="6498620" cy="1591556"/>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581" y="2417378"/>
            <a:ext cx="3695672" cy="3786043"/>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80756" y="1023445"/>
            <a:ext cx="9777613" cy="108642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93891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88263" y="589280"/>
            <a:ext cx="8682737" cy="553998"/>
          </a:xfrm>
          <a:prstGeom prst="rect">
            <a:avLst/>
          </a:prstGeom>
        </p:spPr>
        <p:txBody>
          <a:bodyPr wrap="square" anchor="t">
            <a:normAutofit/>
          </a:bodyPr>
          <a:lstStyle/>
          <a:p>
            <a:r>
              <a:rPr lang="en-US" sz="3600" b="1"/>
              <a:t>Azure landing zon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0"/>
          </p:nvPr>
        </p:nvSpPr>
        <p:spPr>
          <a:xfrm>
            <a:off x="582612" y="2379137"/>
            <a:ext cx="5223828" cy="3630298"/>
          </a:xfrm>
          <a:prstGeom prst="rect">
            <a:avLst/>
          </a:prstGeom>
        </p:spPr>
        <p:txBody>
          <a:bodyPr vert="horz" wrap="square" lIns="0" tIns="0" rIns="0" bIns="0" rtlCol="0" anchor="t">
            <a:normAutofit/>
          </a:bodyPr>
          <a:lstStyle/>
          <a:p>
            <a:pPr marL="228556" indent="-228556">
              <a:spcAft>
                <a:spcPts val="3500"/>
              </a:spcAft>
              <a:buChar char=""/>
            </a:pPr>
            <a:r>
              <a:rPr lang="en-US" sz="2400"/>
              <a:t>Enable </a:t>
            </a:r>
            <a:r>
              <a:rPr lang="en-GB" sz="2400"/>
              <a:t>Autonomy for Innovation and Transformation</a:t>
            </a:r>
          </a:p>
          <a:p>
            <a:pPr marL="228556" indent="-228556">
              <a:spcAft>
                <a:spcPts val="3400"/>
              </a:spcAft>
              <a:buChar char=""/>
            </a:pPr>
            <a:r>
              <a:rPr lang="en-GB" sz="2400"/>
              <a:t>Security and Compliance By-Default</a:t>
            </a:r>
          </a:p>
          <a:p>
            <a:pPr marL="228556" indent="-228556">
              <a:buChar char=""/>
            </a:pPr>
            <a:r>
              <a:rPr lang="en-GB" sz="2400"/>
              <a:t>Governance At-Scale with Sustainable Cloud Engineering</a:t>
            </a:r>
            <a:endParaRPr lang="en-US" sz="2400"/>
          </a:p>
        </p:txBody>
      </p:sp>
      <p:grpSp>
        <p:nvGrpSpPr>
          <p:cNvPr id="31" name="Group 30">
            <a:extLst>
              <a:ext uri="{FF2B5EF4-FFF2-40B4-BE49-F238E27FC236}">
                <a16:creationId xmlns:a16="http://schemas.microsoft.com/office/drawing/2014/main" id="{5C407838-D086-48CC-9F27-E74F56909313}"/>
              </a:ext>
              <a:ext uri="{C183D7F6-B498-43B3-948B-1728B52AA6E4}">
                <adec:decorative xmlns:adec="http://schemas.microsoft.com/office/drawing/2017/decorative" val="1"/>
              </a:ext>
            </a:extLst>
          </p:cNvPr>
          <p:cNvGrpSpPr/>
          <p:nvPr/>
        </p:nvGrpSpPr>
        <p:grpSpPr>
          <a:xfrm>
            <a:off x="6389688" y="1438876"/>
            <a:ext cx="5219700" cy="804397"/>
            <a:chOff x="6389688" y="1438876"/>
            <a:chExt cx="5219700" cy="804397"/>
          </a:xfrm>
        </p:grpSpPr>
        <p:sp>
          <p:nvSpPr>
            <p:cNvPr id="9" name="Rectangle: Rounded Corners 8">
              <a:extLst>
                <a:ext uri="{FF2B5EF4-FFF2-40B4-BE49-F238E27FC236}">
                  <a16:creationId xmlns:a16="http://schemas.microsoft.com/office/drawing/2014/main" id="{ADF19254-1E65-49B1-950D-F4D4C22E6CE0}"/>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29147D8C-0982-47EF-AD39-057BAD9503CE}"/>
                </a:ext>
                <a:ext uri="{C183D7F6-B498-43B3-948B-1728B52AA6E4}">
                  <adec:decorative xmlns:adec="http://schemas.microsoft.com/office/drawing/2017/decorative" val="1"/>
                </a:ext>
              </a:extLst>
            </p:cNvPr>
            <p:cNvSpPr/>
            <p:nvPr/>
          </p:nvSpPr>
          <p:spPr>
            <a:xfrm>
              <a:off x="6633018" y="1619865"/>
              <a:ext cx="442418" cy="4424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3" name="Content Placeholder 2">
            <a:extLst>
              <a:ext uri="{FF2B5EF4-FFF2-40B4-BE49-F238E27FC236}">
                <a16:creationId xmlns:a16="http://schemas.microsoft.com/office/drawing/2014/main" id="{01792732-B058-4805-B241-D407F2831679}"/>
              </a:ext>
            </a:extLst>
          </p:cNvPr>
          <p:cNvSpPr>
            <a:spLocks noGrp="1"/>
          </p:cNvSpPr>
          <p:nvPr>
            <p:ph sz="quarter" idx="11"/>
          </p:nvPr>
        </p:nvSpPr>
        <p:spPr>
          <a:xfrm>
            <a:off x="7402770" y="1705889"/>
            <a:ext cx="3901499" cy="394691"/>
          </a:xfrm>
        </p:spPr>
        <p:txBody>
          <a:bodyPr/>
          <a:lstStyle/>
          <a:p>
            <a:pPr lvl="0" defTabSz="914400">
              <a:spcBef>
                <a:spcPts val="0"/>
              </a:spcBef>
              <a:spcAft>
                <a:spcPts val="756"/>
              </a:spcAft>
              <a:buSzTx/>
            </a:pPr>
            <a:r>
              <a:rPr lang="en-GB" sz="1800">
                <a:solidFill>
                  <a:srgbClr val="FFFFFF"/>
                </a:solidFill>
                <a:latin typeface="+mn-lt"/>
              </a:rPr>
              <a:t>Subscription Democratisation</a:t>
            </a:r>
            <a:endParaRPr lang="en-US" sz="1800">
              <a:solidFill>
                <a:srgbClr val="FFFFFF"/>
              </a:solidFill>
              <a:latin typeface="+mn-lt"/>
            </a:endParaRPr>
          </a:p>
        </p:txBody>
      </p:sp>
      <p:grpSp>
        <p:nvGrpSpPr>
          <p:cNvPr id="32" name="Group 31">
            <a:extLst>
              <a:ext uri="{FF2B5EF4-FFF2-40B4-BE49-F238E27FC236}">
                <a16:creationId xmlns:a16="http://schemas.microsoft.com/office/drawing/2014/main" id="{BA5356F1-50AA-4B70-9EEA-8200E4712DEA}"/>
              </a:ext>
              <a:ext uri="{C183D7F6-B498-43B3-948B-1728B52AA6E4}">
                <adec:decorative xmlns:adec="http://schemas.microsoft.com/office/drawing/2017/decorative" val="1"/>
              </a:ext>
            </a:extLst>
          </p:cNvPr>
          <p:cNvGrpSpPr/>
          <p:nvPr/>
        </p:nvGrpSpPr>
        <p:grpSpPr>
          <a:xfrm>
            <a:off x="6389688" y="2444373"/>
            <a:ext cx="5219700" cy="804397"/>
            <a:chOff x="6389688" y="2444373"/>
            <a:chExt cx="5219700" cy="804397"/>
          </a:xfrm>
        </p:grpSpPr>
        <p:sp>
          <p:nvSpPr>
            <p:cNvPr id="13" name="Rectangle: Rounded Corners 12">
              <a:extLst>
                <a:ext uri="{FF2B5EF4-FFF2-40B4-BE49-F238E27FC236}">
                  <a16:creationId xmlns:a16="http://schemas.microsoft.com/office/drawing/2014/main" id="{B6428FDE-5146-4CB3-A5B6-A93B4C6BC05B}"/>
                </a:ext>
                <a:ext uri="{C183D7F6-B498-43B3-948B-1728B52AA6E4}">
                  <adec:decorative xmlns:adec="http://schemas.microsoft.com/office/drawing/2017/decorative" val="1"/>
                </a:ext>
              </a:extLst>
            </p:cNvPr>
            <p:cNvSpPr/>
            <p:nvPr/>
          </p:nvSpPr>
          <p:spPr>
            <a:xfrm>
              <a:off x="6389688" y="244437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DC463BCB-28A6-4774-9196-C91A9835EF5E}"/>
                </a:ext>
                <a:ext uri="{C183D7F6-B498-43B3-948B-1728B52AA6E4}">
                  <adec:decorative xmlns:adec="http://schemas.microsoft.com/office/drawing/2017/decorative" val="1"/>
                </a:ext>
              </a:extLst>
            </p:cNvPr>
            <p:cNvSpPr/>
            <p:nvPr/>
          </p:nvSpPr>
          <p:spPr>
            <a:xfrm>
              <a:off x="6633018" y="2625362"/>
              <a:ext cx="442418" cy="4424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4" name="Content Placeholder 3">
            <a:extLst>
              <a:ext uri="{FF2B5EF4-FFF2-40B4-BE49-F238E27FC236}">
                <a16:creationId xmlns:a16="http://schemas.microsoft.com/office/drawing/2014/main" id="{1699464C-C835-4072-BD03-2281E271DB56}"/>
              </a:ext>
            </a:extLst>
          </p:cNvPr>
          <p:cNvSpPr>
            <a:spLocks noGrp="1"/>
          </p:cNvSpPr>
          <p:nvPr>
            <p:ph sz="quarter" idx="12"/>
          </p:nvPr>
        </p:nvSpPr>
        <p:spPr>
          <a:xfrm>
            <a:off x="7395704" y="2708275"/>
            <a:ext cx="3012220" cy="398145"/>
          </a:xfrm>
        </p:spPr>
        <p:txBody>
          <a:bodyPr/>
          <a:lstStyle/>
          <a:p>
            <a:pPr lvl="0" defTabSz="914400">
              <a:spcBef>
                <a:spcPts val="0"/>
              </a:spcBef>
              <a:buSzTx/>
            </a:pPr>
            <a:r>
              <a:rPr lang="en-GB" sz="1800" kern="0">
                <a:solidFill>
                  <a:srgbClr val="FFFFFF"/>
                </a:solidFill>
                <a:latin typeface="+mn-lt"/>
              </a:rPr>
              <a:t>Policy Driven Governance</a:t>
            </a:r>
            <a:endParaRPr lang="en-US" sz="1800" kern="0">
              <a:solidFill>
                <a:srgbClr val="FFFFFF"/>
              </a:solidFill>
              <a:latin typeface="+mn-lt"/>
            </a:endParaRPr>
          </a:p>
        </p:txBody>
      </p:sp>
      <p:grpSp>
        <p:nvGrpSpPr>
          <p:cNvPr id="33" name="Group 32">
            <a:extLst>
              <a:ext uri="{FF2B5EF4-FFF2-40B4-BE49-F238E27FC236}">
                <a16:creationId xmlns:a16="http://schemas.microsoft.com/office/drawing/2014/main" id="{423968C7-570F-4312-B4AC-7DB008747B74}"/>
              </a:ext>
              <a:ext uri="{C183D7F6-B498-43B3-948B-1728B52AA6E4}">
                <adec:decorative xmlns:adec="http://schemas.microsoft.com/office/drawing/2017/decorative" val="1"/>
              </a:ext>
            </a:extLst>
          </p:cNvPr>
          <p:cNvGrpSpPr/>
          <p:nvPr/>
        </p:nvGrpSpPr>
        <p:grpSpPr>
          <a:xfrm>
            <a:off x="6389688" y="3449870"/>
            <a:ext cx="5219700" cy="804397"/>
            <a:chOff x="6389688" y="3449870"/>
            <a:chExt cx="5219700" cy="804397"/>
          </a:xfrm>
        </p:grpSpPr>
        <p:sp>
          <p:nvSpPr>
            <p:cNvPr id="20" name="Rectangle: Rounded Corners 19">
              <a:extLst>
                <a:ext uri="{FF2B5EF4-FFF2-40B4-BE49-F238E27FC236}">
                  <a16:creationId xmlns:a16="http://schemas.microsoft.com/office/drawing/2014/main" id="{3F0F9E7D-435A-497D-961E-1CD6DE662881}"/>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17">
              <a:extLst>
                <a:ext uri="{FF2B5EF4-FFF2-40B4-BE49-F238E27FC236}">
                  <a16:creationId xmlns:a16="http://schemas.microsoft.com/office/drawing/2014/main" id="{726E808F-7964-47EA-9F1C-E2259593116A}"/>
                </a:ext>
                <a:ext uri="{C183D7F6-B498-43B3-948B-1728B52AA6E4}">
                  <adec:decorative xmlns:adec="http://schemas.microsoft.com/office/drawing/2017/decorative" val="1"/>
                </a:ext>
              </a:extLst>
            </p:cNvPr>
            <p:cNvSpPr/>
            <p:nvPr/>
          </p:nvSpPr>
          <p:spPr>
            <a:xfrm>
              <a:off x="6633018" y="3630859"/>
              <a:ext cx="442418" cy="442418"/>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5" name="Content Placeholder 4">
            <a:extLst>
              <a:ext uri="{FF2B5EF4-FFF2-40B4-BE49-F238E27FC236}">
                <a16:creationId xmlns:a16="http://schemas.microsoft.com/office/drawing/2014/main" id="{75EE67AE-E03F-4995-A371-BF9BCA7BE2BD}"/>
              </a:ext>
            </a:extLst>
          </p:cNvPr>
          <p:cNvSpPr>
            <a:spLocks noGrp="1"/>
          </p:cNvSpPr>
          <p:nvPr>
            <p:ph sz="quarter" idx="13"/>
          </p:nvPr>
        </p:nvSpPr>
        <p:spPr>
          <a:xfrm>
            <a:off x="7403353" y="3721262"/>
            <a:ext cx="4244070" cy="434333"/>
          </a:xfrm>
        </p:spPr>
        <p:txBody>
          <a:bodyPr/>
          <a:lstStyle/>
          <a:p>
            <a:pPr lvl="0" defTabSz="914400">
              <a:spcBef>
                <a:spcPts val="0"/>
              </a:spcBef>
              <a:buSzTx/>
            </a:pPr>
            <a:r>
              <a:rPr lang="en-GB" sz="1800" kern="0">
                <a:solidFill>
                  <a:srgbClr val="FFFFFF"/>
                </a:solidFill>
                <a:latin typeface="+mn-lt"/>
              </a:rPr>
              <a:t>Single Control and Management Plane</a:t>
            </a:r>
            <a:endParaRPr lang="en-US" sz="1800" kern="0">
              <a:solidFill>
                <a:srgbClr val="FFFFFF"/>
              </a:solidFill>
              <a:latin typeface="+mn-lt"/>
            </a:endParaRPr>
          </a:p>
        </p:txBody>
      </p:sp>
      <p:grpSp>
        <p:nvGrpSpPr>
          <p:cNvPr id="34" name="Group 33">
            <a:extLst>
              <a:ext uri="{FF2B5EF4-FFF2-40B4-BE49-F238E27FC236}">
                <a16:creationId xmlns:a16="http://schemas.microsoft.com/office/drawing/2014/main" id="{D39132F8-B9E4-4337-BF90-29DBE8E3D185}"/>
              </a:ext>
              <a:ext uri="{C183D7F6-B498-43B3-948B-1728B52AA6E4}">
                <adec:decorative xmlns:adec="http://schemas.microsoft.com/office/drawing/2017/decorative" val="1"/>
              </a:ext>
            </a:extLst>
          </p:cNvPr>
          <p:cNvGrpSpPr/>
          <p:nvPr/>
        </p:nvGrpSpPr>
        <p:grpSpPr>
          <a:xfrm>
            <a:off x="6389688" y="4455367"/>
            <a:ext cx="5219700" cy="804397"/>
            <a:chOff x="6389688" y="4455367"/>
            <a:chExt cx="5219700" cy="804397"/>
          </a:xfrm>
        </p:grpSpPr>
        <p:sp>
          <p:nvSpPr>
            <p:cNvPr id="25" name="Rectangle: Rounded Corners 24">
              <a:extLst>
                <a:ext uri="{FF2B5EF4-FFF2-40B4-BE49-F238E27FC236}">
                  <a16:creationId xmlns:a16="http://schemas.microsoft.com/office/drawing/2014/main" id="{545AD162-7AA9-45E4-9557-7736E1C2D09C}"/>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D262C4BC-8361-4950-A158-4A37F38BE837}"/>
                </a:ext>
                <a:ext uri="{C183D7F6-B498-43B3-948B-1728B52AA6E4}">
                  <adec:decorative xmlns:adec="http://schemas.microsoft.com/office/drawing/2017/decorative" val="1"/>
                </a:ext>
              </a:extLst>
            </p:cNvPr>
            <p:cNvSpPr/>
            <p:nvPr/>
          </p:nvSpPr>
          <p:spPr>
            <a:xfrm>
              <a:off x="6633018" y="4636356"/>
              <a:ext cx="442418" cy="442418"/>
            </a:xfrm>
            <a:prstGeom prst="rect">
              <a:avLst/>
            </a:prstGeom>
            <a:blipFill>
              <a:blip r:embed="rId9">
                <a:extLst>
                  <a:ext uri="{96DAC541-7B7A-43D3-8B79-37D633B846F1}">
                    <asvg:svgBlip xmlns:asvg="http://schemas.microsoft.com/office/drawing/2016/SVG/main" r:embed="rId10"/>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6" name="Content Placeholder 5">
            <a:extLst>
              <a:ext uri="{FF2B5EF4-FFF2-40B4-BE49-F238E27FC236}">
                <a16:creationId xmlns:a16="http://schemas.microsoft.com/office/drawing/2014/main" id="{4C820E23-E0D6-4D59-80A3-612B066D04DD}"/>
              </a:ext>
            </a:extLst>
          </p:cNvPr>
          <p:cNvSpPr>
            <a:spLocks noGrp="1"/>
          </p:cNvSpPr>
          <p:nvPr>
            <p:ph sz="quarter" idx="14"/>
          </p:nvPr>
        </p:nvSpPr>
        <p:spPr>
          <a:xfrm>
            <a:off x="7402267" y="4561195"/>
            <a:ext cx="3800247" cy="590867"/>
          </a:xfrm>
        </p:spPr>
        <p:txBody>
          <a:bodyPr/>
          <a:lstStyle/>
          <a:p>
            <a:pPr lvl="0" defTabSz="914400">
              <a:lnSpc>
                <a:spcPts val="2400"/>
              </a:lnSpc>
              <a:spcBef>
                <a:spcPts val="0"/>
              </a:spcBef>
              <a:spcAft>
                <a:spcPts val="756"/>
              </a:spcAft>
              <a:buSzTx/>
            </a:pPr>
            <a:r>
              <a:rPr lang="en-GB" sz="1800" kern="0">
                <a:solidFill>
                  <a:srgbClr val="FFFFFF"/>
                </a:solidFill>
                <a:latin typeface="+mn-lt"/>
              </a:rPr>
              <a:t>Application Centric and Archetype-Neutral </a:t>
            </a:r>
            <a:endParaRPr lang="en-US" sz="1800" kern="0">
              <a:solidFill>
                <a:srgbClr val="FFFFFF"/>
              </a:solidFill>
              <a:latin typeface="+mn-lt"/>
            </a:endParaRPr>
          </a:p>
        </p:txBody>
      </p:sp>
      <p:grpSp>
        <p:nvGrpSpPr>
          <p:cNvPr id="35" name="Group 34">
            <a:extLst>
              <a:ext uri="{FF2B5EF4-FFF2-40B4-BE49-F238E27FC236}">
                <a16:creationId xmlns:a16="http://schemas.microsoft.com/office/drawing/2014/main" id="{9593B96E-47CA-4279-BEC6-E9ABB861F644}"/>
              </a:ext>
              <a:ext uri="{C183D7F6-B498-43B3-948B-1728B52AA6E4}">
                <adec:decorative xmlns:adec="http://schemas.microsoft.com/office/drawing/2017/decorative" val="1"/>
              </a:ext>
            </a:extLst>
          </p:cNvPr>
          <p:cNvGrpSpPr/>
          <p:nvPr/>
        </p:nvGrpSpPr>
        <p:grpSpPr>
          <a:xfrm>
            <a:off x="6389688" y="5460863"/>
            <a:ext cx="5219700" cy="804397"/>
            <a:chOff x="6389688" y="5460863"/>
            <a:chExt cx="5219700" cy="804397"/>
          </a:xfrm>
        </p:grpSpPr>
        <p:sp>
          <p:nvSpPr>
            <p:cNvPr id="28" name="Rectangle: Rounded Corners 27">
              <a:extLst>
                <a:ext uri="{FF2B5EF4-FFF2-40B4-BE49-F238E27FC236}">
                  <a16:creationId xmlns:a16="http://schemas.microsoft.com/office/drawing/2014/main" id="{61E305E5-EA2D-4F6B-A293-10196FBA748A}"/>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tangle 23">
              <a:extLst>
                <a:ext uri="{FF2B5EF4-FFF2-40B4-BE49-F238E27FC236}">
                  <a16:creationId xmlns:a16="http://schemas.microsoft.com/office/drawing/2014/main" id="{20FBC505-5F0B-4B72-88C3-6CC5E4A96FBE}"/>
                </a:ext>
                <a:ext uri="{C183D7F6-B498-43B3-948B-1728B52AA6E4}">
                  <adec:decorative xmlns:adec="http://schemas.microsoft.com/office/drawing/2017/decorative" val="1"/>
                </a:ext>
              </a:extLst>
            </p:cNvPr>
            <p:cNvSpPr/>
            <p:nvPr/>
          </p:nvSpPr>
          <p:spPr>
            <a:xfrm>
              <a:off x="6633018" y="5641853"/>
              <a:ext cx="442418" cy="442418"/>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7" name="Content Placeholder 6">
            <a:extLst>
              <a:ext uri="{FF2B5EF4-FFF2-40B4-BE49-F238E27FC236}">
                <a16:creationId xmlns:a16="http://schemas.microsoft.com/office/drawing/2014/main" id="{C37527FC-12FB-4207-9A6E-44EABDE04047}"/>
              </a:ext>
            </a:extLst>
          </p:cNvPr>
          <p:cNvSpPr>
            <a:spLocks noGrp="1"/>
          </p:cNvSpPr>
          <p:nvPr>
            <p:ph sz="quarter" idx="15"/>
          </p:nvPr>
        </p:nvSpPr>
        <p:spPr>
          <a:xfrm>
            <a:off x="7402226" y="5563500"/>
            <a:ext cx="3533998" cy="590867"/>
          </a:xfrm>
        </p:spPr>
        <p:txBody>
          <a:bodyPr/>
          <a:lstStyle/>
          <a:p>
            <a:pPr lvl="0" defTabSz="914400">
              <a:lnSpc>
                <a:spcPts val="2400"/>
              </a:lnSpc>
              <a:spcBef>
                <a:spcPts val="0"/>
              </a:spcBef>
              <a:buSzTx/>
            </a:pPr>
            <a:r>
              <a:rPr lang="en-GB" sz="1800" kern="0">
                <a:solidFill>
                  <a:srgbClr val="FFFFFF"/>
                </a:solidFill>
                <a:latin typeface="+mn-lt"/>
              </a:rPr>
              <a:t>Azure Native Design and Platform Roadmap Alignment</a:t>
            </a:r>
            <a:endParaRPr lang="en-US" sz="1800" kern="0">
              <a:solidFill>
                <a:srgbClr val="FFFFFF"/>
              </a:solidFill>
              <a:latin typeface="+mn-lt"/>
            </a:endParaRPr>
          </a:p>
        </p:txBody>
      </p:sp>
    </p:spTree>
    <p:extLst>
      <p:ext uri="{BB962C8B-B14F-4D97-AF65-F5344CB8AC3E}">
        <p14:creationId xmlns:p14="http://schemas.microsoft.com/office/powerpoint/2010/main" val="3518130478"/>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a:solidFill>
                  <a:schemeClr val="accent4"/>
                </a:solidFill>
              </a:rPr>
              <a:t>Azure landing zone </a:t>
            </a:r>
            <a:r>
              <a:rPr lang="en-US" sz="3600"/>
              <a:t>conceptual architecture</a:t>
            </a:r>
            <a:br>
              <a:rPr lang="en-US" sz="3600"/>
            </a:br>
            <a:r>
              <a:rPr lang="en-US" sz="2800">
                <a:solidFill>
                  <a:schemeClr val="accent4"/>
                </a:solidFill>
                <a:latin typeface="Segoe UI Semilight" panose="020B0402040204020203" pitchFamily="34" charset="0"/>
                <a:cs typeface="Segoe UI Semilight" panose="020B0402040204020203" pitchFamily="34" charset="0"/>
              </a:rPr>
              <a:t>What does it represent?</a:t>
            </a:r>
            <a:endParaRPr lang="en-US" sz="360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114347"/>
          </a:xfrm>
        </p:spPr>
        <p:txBody>
          <a:bodyPr/>
          <a:lstStyle/>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Target end-state</a:t>
            </a:r>
            <a:r>
              <a:rPr lang="en-GB" sz="1800"/>
              <a:t> for most organizations</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caled-out and mature </a:t>
            </a:r>
            <a:r>
              <a:rPr lang="en-GB" sz="1800"/>
              <a:t>environment</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Customer and partner practices </a:t>
            </a:r>
            <a:r>
              <a:rPr lang="en-GB" sz="1800"/>
              <a:t>for environment design </a:t>
            </a:r>
            <a:r>
              <a:rPr lang="en-GB" sz="180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trong foundation for management, governance, </a:t>
            </a:r>
            <a:r>
              <a:rPr lang="en-GB" sz="1800"/>
              <a:t>and </a:t>
            </a:r>
            <a:r>
              <a:rPr lang="en-GB" sz="1800">
                <a:solidFill>
                  <a:schemeClr val="tx2"/>
                </a:solidFill>
                <a:latin typeface="+mj-lt"/>
              </a:rPr>
              <a:t>security </a:t>
            </a:r>
            <a:r>
              <a:rPr lang="en-GB" sz="1800"/>
              <a:t>processes</a:t>
            </a:r>
          </a:p>
        </p:txBody>
      </p:sp>
      <p:pic>
        <p:nvPicPr>
          <p:cNvPr id="5" name="Picture 4" descr="Diagram: ALZ conceptual architecture">
            <a:extLst>
              <a:ext uri="{FF2B5EF4-FFF2-40B4-BE49-F238E27FC236}">
                <a16:creationId xmlns:a16="http://schemas.microsoft.com/office/drawing/2014/main" id="{DE17D9A4-4BB5-4279-AB0A-781FC603DF14}"/>
              </a:ext>
            </a:extLst>
          </p:cNvPr>
          <p:cNvPicPr>
            <a:picLocks noChangeAspect="1"/>
          </p:cNvPicPr>
          <p:nvPr/>
        </p:nvPicPr>
        <p:blipFill>
          <a:blip r:embed="rId3"/>
          <a:stretch>
            <a:fillRect/>
          </a:stretch>
        </p:blipFill>
        <p:spPr>
          <a:xfrm>
            <a:off x="4953154" y="1254607"/>
            <a:ext cx="7041694" cy="5328330"/>
          </a:xfrm>
          <a:prstGeom prst="rect">
            <a:avLst/>
          </a:prstGeom>
        </p:spPr>
      </p:pic>
    </p:spTree>
    <p:extLst>
      <p:ext uri="{BB962C8B-B14F-4D97-AF65-F5344CB8AC3E}">
        <p14:creationId xmlns:p14="http://schemas.microsoft.com/office/powerpoint/2010/main" val="4131854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IMING" val="|2.4"/>
</p:tagLst>
</file>

<file path=ppt/tags/tag16.xml><?xml version="1.0" encoding="utf-8"?>
<p:tagLst xmlns:a="http://schemas.openxmlformats.org/drawingml/2006/main" xmlns:r="http://schemas.openxmlformats.org/officeDocument/2006/relationships" xmlns:p="http://schemas.openxmlformats.org/presentationml/2006/main">
  <p:tag name="TIMING" val="|10.3"/>
</p:tagLst>
</file>

<file path=ppt/tags/tag17.xml><?xml version="1.0" encoding="utf-8"?>
<p:tagLst xmlns:a="http://schemas.openxmlformats.org/drawingml/2006/main" xmlns:r="http://schemas.openxmlformats.org/officeDocument/2006/relationships" xmlns:p="http://schemas.openxmlformats.org/presentationml/2006/main">
  <p:tag name="TIMING" val="|10.3"/>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3.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_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7.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9.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2.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3.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4.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5.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6.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7.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customXml/itemProps2.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3.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515</TotalTime>
  <Words>5680</Words>
  <Application>Microsoft Office PowerPoint</Application>
  <PresentationFormat>Widescreen</PresentationFormat>
  <Paragraphs>517</Paragraphs>
  <Slides>47</Slides>
  <Notes>46</Notes>
  <HiddenSlides>0</HiddenSlides>
  <MMClips>0</MMClips>
  <ScaleCrop>false</ScaleCrop>
  <HeadingPairs>
    <vt:vector size="8" baseType="variant">
      <vt:variant>
        <vt:lpstr>Fonts Used</vt:lpstr>
      </vt:variant>
      <vt:variant>
        <vt:i4>10</vt:i4>
      </vt:variant>
      <vt:variant>
        <vt:lpstr>Theme</vt:lpstr>
      </vt:variant>
      <vt:variant>
        <vt:i4>15</vt:i4>
      </vt:variant>
      <vt:variant>
        <vt:lpstr>Embedded OLE Servers</vt:lpstr>
      </vt:variant>
      <vt:variant>
        <vt:i4>1</vt:i4>
      </vt:variant>
      <vt:variant>
        <vt:lpstr>Slide Titles</vt:lpstr>
      </vt:variant>
      <vt:variant>
        <vt:i4>47</vt:i4>
      </vt:variant>
    </vt:vector>
  </HeadingPairs>
  <TitlesOfParts>
    <vt:vector size="73" baseType="lpstr">
      <vt:lpstr>Arial</vt:lpstr>
      <vt:lpstr>Calibri</vt:lpstr>
      <vt:lpstr>Consolas</vt:lpstr>
      <vt:lpstr>docons</vt:lpstr>
      <vt:lpstr>Segoe Semibold</vt:lpstr>
      <vt:lpstr>Segoe UI</vt:lpstr>
      <vt:lpstr>Segoe UI Light</vt:lpstr>
      <vt:lpstr>Segoe UI Semibold</vt:lpstr>
      <vt:lpstr>Segoe UI Semilight</vt:lpstr>
      <vt:lpstr>Wingdings</vt:lpstr>
      <vt:lpstr>Customer Success 2019 </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2_Azure Design Template</vt:lpstr>
      <vt:lpstr>1_Customer Success 2019 </vt:lpstr>
      <vt:lpstr>1_Azure Design Template</vt:lpstr>
      <vt:lpstr>think-cell Slide</vt:lpstr>
      <vt:lpstr>What The CAF Module 04: ALZ Accelerator Azure Landing Zone Design Principles, Considerations, and Recommendations</vt:lpstr>
      <vt:lpstr>Microsoft Cloud Adoption Framework for Azure</vt:lpstr>
      <vt:lpstr>Azure Landing Zones</vt:lpstr>
      <vt:lpstr>What are you building? Your cloud foundation supports the construction of a—</vt:lpstr>
      <vt:lpstr>All foundations are NOT created equal</vt:lpstr>
      <vt:lpstr>Azure landing zones</vt:lpstr>
      <vt:lpstr>Azure landing zone Design Principles</vt:lpstr>
      <vt:lpstr>Azure landing zones Design areas</vt:lpstr>
      <vt:lpstr>Azure landing zone conceptual architecture What does it represent?</vt:lpstr>
      <vt:lpstr>Common implementation approach</vt:lpstr>
      <vt:lpstr>PowerPoint Presentation</vt:lpstr>
      <vt:lpstr>PowerPoint Presentation</vt:lpstr>
      <vt:lpstr>PowerPoint Presentation</vt:lpstr>
      <vt:lpstr>Design Considerations &amp; Recommendations</vt:lpstr>
      <vt:lpstr>Azure landing zones Design areas</vt:lpstr>
      <vt:lpstr>This critical design area focuses on the two highest levels of alignment across all of your Azure deployments; your Azure billing offer and the association of that offer with an Azure Active Directory (Azure AD) tenant.</vt:lpstr>
      <vt:lpstr>Billing &amp; AAD Design Area Considerations and Recommendations</vt:lpstr>
      <vt:lpstr>Identity &amp; Access Management</vt:lpstr>
      <vt:lpstr>PowerPoint Presentation</vt:lpstr>
      <vt:lpstr>PowerPoint Presentation</vt:lpstr>
      <vt:lpstr>Network Topology &amp; Connectivity </vt:lpstr>
      <vt:lpstr>Network Topology &amp; Connectivity Design Area Considerations &amp; Recommendations</vt:lpstr>
      <vt:lpstr>Network Topology &amp; Connectivity Design Area Considerations &amp; Recommendations</vt:lpstr>
      <vt:lpstr>Resource Organization </vt:lpstr>
      <vt:lpstr>Resource Organization Design Area Considerations and Recommendations</vt:lpstr>
      <vt:lpstr>How do we handle "dev/test/production" workload landing zones in enterprise-scale architecture?</vt:lpstr>
      <vt:lpstr>How do we handle "dev/test/production" workload landing zones in enterprise-scale architecture?</vt:lpstr>
      <vt:lpstr>Security </vt:lpstr>
      <vt:lpstr>PowerPoint Presentation</vt:lpstr>
      <vt:lpstr>Management </vt:lpstr>
      <vt:lpstr>PowerPoint Presentation</vt:lpstr>
      <vt:lpstr>PowerPoint Presentation</vt:lpstr>
      <vt:lpstr>Management Protect and Recover </vt:lpstr>
      <vt:lpstr>Building reliable systems is a shared responsibility</vt:lpstr>
      <vt:lpstr>PowerPoint Presentation</vt:lpstr>
      <vt:lpstr>PowerPoint Presentation</vt:lpstr>
      <vt:lpstr>PowerPoint Presentation</vt:lpstr>
      <vt:lpstr>PowerPoint Presentation</vt:lpstr>
      <vt:lpstr>Governance </vt:lpstr>
      <vt:lpstr>PowerPoint Presentation</vt:lpstr>
      <vt:lpstr>PowerPoint Presentation</vt:lpstr>
      <vt:lpstr>PowerPoint Presentation</vt:lpstr>
      <vt:lpstr>Platform Automation &amp; DevOps </vt:lpstr>
      <vt:lpstr>PowerPoint Presentation</vt:lpstr>
      <vt:lpstr>Resources &amp; Next Steps</vt:lpstr>
      <vt:lpstr>Azure Landing Zones 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an Nese</dc:creator>
  <cp:lastModifiedBy>Jonathan Vella</cp:lastModifiedBy>
  <cp:revision>3</cp:revision>
  <dcterms:created xsi:type="dcterms:W3CDTF">2020-06-13T10:39:22Z</dcterms:created>
  <dcterms:modified xsi:type="dcterms:W3CDTF">2022-10-04T08:0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